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1" r:id="rId2"/>
    <p:sldMasterId id="2147483723" r:id="rId3"/>
    <p:sldMasterId id="2147483738" r:id="rId4"/>
  </p:sldMasterIdLst>
  <p:notesMasterIdLst>
    <p:notesMasterId r:id="rId42"/>
  </p:notesMasterIdLst>
  <p:sldIdLst>
    <p:sldId id="257" r:id="rId5"/>
    <p:sldId id="2147470184" r:id="rId6"/>
    <p:sldId id="2146847043" r:id="rId7"/>
    <p:sldId id="300" r:id="rId8"/>
    <p:sldId id="2147470223" r:id="rId9"/>
    <p:sldId id="2147470235" r:id="rId10"/>
    <p:sldId id="2147470252" r:id="rId11"/>
    <p:sldId id="2147470307" r:id="rId12"/>
    <p:sldId id="2147470253" r:id="rId13"/>
    <p:sldId id="2147470296" r:id="rId14"/>
    <p:sldId id="2147470308" r:id="rId15"/>
    <p:sldId id="2147470301" r:id="rId16"/>
    <p:sldId id="2147470309" r:id="rId17"/>
    <p:sldId id="2147470302" r:id="rId18"/>
    <p:sldId id="2147470310" r:id="rId19"/>
    <p:sldId id="2147470303" r:id="rId20"/>
    <p:sldId id="2147470311" r:id="rId21"/>
    <p:sldId id="2147470305" r:id="rId22"/>
    <p:sldId id="2147470313" r:id="rId23"/>
    <p:sldId id="2147470304" r:id="rId24"/>
    <p:sldId id="2147470312" r:id="rId25"/>
    <p:sldId id="2147470306" r:id="rId26"/>
    <p:sldId id="2147470314" r:id="rId27"/>
    <p:sldId id="2147470282" r:id="rId28"/>
    <p:sldId id="2147470299" r:id="rId29"/>
    <p:sldId id="2147470300" r:id="rId30"/>
    <p:sldId id="2147470316" r:id="rId31"/>
    <p:sldId id="2147470233" r:id="rId32"/>
    <p:sldId id="2147470245" r:id="rId33"/>
    <p:sldId id="2147470224" r:id="rId34"/>
    <p:sldId id="2147470254" r:id="rId35"/>
    <p:sldId id="2147470315" r:id="rId36"/>
    <p:sldId id="2147470255" r:id="rId37"/>
    <p:sldId id="2147470256" r:id="rId38"/>
    <p:sldId id="2147470257" r:id="rId39"/>
    <p:sldId id="2147470258" r:id="rId40"/>
    <p:sldId id="2147374605" r:id="rId4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4A5B777-9B84-4988-B3DD-3B608274DF87}">
          <p14:sldIdLst>
            <p14:sldId id="257"/>
            <p14:sldId id="2147470184"/>
            <p14:sldId id="2146847043"/>
            <p14:sldId id="300"/>
            <p14:sldId id="2147470223"/>
            <p14:sldId id="2147470235"/>
            <p14:sldId id="2147470252"/>
            <p14:sldId id="2147470307"/>
            <p14:sldId id="2147470253"/>
            <p14:sldId id="2147470296"/>
            <p14:sldId id="2147470308"/>
            <p14:sldId id="2147470301"/>
            <p14:sldId id="2147470309"/>
            <p14:sldId id="2147470302"/>
            <p14:sldId id="2147470310"/>
            <p14:sldId id="2147470303"/>
            <p14:sldId id="2147470311"/>
            <p14:sldId id="2147470305"/>
            <p14:sldId id="2147470313"/>
            <p14:sldId id="2147470304"/>
            <p14:sldId id="2147470312"/>
            <p14:sldId id="2147470306"/>
            <p14:sldId id="2147470314"/>
            <p14:sldId id="2147470282"/>
            <p14:sldId id="2147470299"/>
            <p14:sldId id="2147470300"/>
            <p14:sldId id="2147470316"/>
            <p14:sldId id="2147470233"/>
            <p14:sldId id="2147470245"/>
            <p14:sldId id="2147470224"/>
            <p14:sldId id="2147470254"/>
            <p14:sldId id="2147470315"/>
            <p14:sldId id="2147470255"/>
            <p14:sldId id="2147470256"/>
            <p14:sldId id="2147470257"/>
            <p14:sldId id="2147470258"/>
          </p14:sldIdLst>
        </p14:section>
        <p14:section name="Teste Multicluster" id="{5C627118-ABA7-4617-AC3B-978F7BDC5C1B}">
          <p14:sldIdLst>
            <p14:sldId id="2147374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63E171-CFEB-4F4D-8699-6193E6ECFF79}" v="8" dt="2025-08-19T12:25:29.6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1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Zanetti de Almeida" userId="129d4ce6-e715-4d33-b4c4-312f1656225b" providerId="ADAL" clId="{7AD9C9E4-D1AE-45AC-A839-3E72D235218A}"/>
    <pc:docChg chg="undo redo custSel addSld delSld modSld sldOrd modSection">
      <pc:chgData name="Alexandre Zanetti de Almeida" userId="129d4ce6-e715-4d33-b4c4-312f1656225b" providerId="ADAL" clId="{7AD9C9E4-D1AE-45AC-A839-3E72D235218A}" dt="2025-08-12T14:15:26.522" v="2730" actId="6549"/>
      <pc:docMkLst>
        <pc:docMk/>
      </pc:docMkLst>
      <pc:sldChg chg="addSp delSp modSp mod">
        <pc:chgData name="Alexandre Zanetti de Almeida" userId="129d4ce6-e715-4d33-b4c4-312f1656225b" providerId="ADAL" clId="{7AD9C9E4-D1AE-45AC-A839-3E72D235218A}" dt="2025-08-12T14:15:26.522" v="2730" actId="6549"/>
        <pc:sldMkLst>
          <pc:docMk/>
          <pc:sldMk cId="3565198220" sldId="257"/>
        </pc:sldMkLst>
        <pc:spChg chg="add del mod">
          <ac:chgData name="Alexandre Zanetti de Almeida" userId="129d4ce6-e715-4d33-b4c4-312f1656225b" providerId="ADAL" clId="{7AD9C9E4-D1AE-45AC-A839-3E72D235218A}" dt="2025-08-12T14:15:26.522" v="2730" actId="6549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7AD9C9E4-D1AE-45AC-A839-3E72D235218A}" dt="2025-06-17T17:08:37.318" v="25"/>
        <pc:sldMkLst>
          <pc:docMk/>
          <pc:sldMk cId="2840932422" sldId="2147470184"/>
        </pc:sldMkLst>
        <pc:spChg chg="mod">
          <ac:chgData name="Alexandre Zanetti de Almeida" userId="129d4ce6-e715-4d33-b4c4-312f1656225b" providerId="ADAL" clId="{7AD9C9E4-D1AE-45AC-A839-3E72D235218A}" dt="2025-06-17T17:08:37.318" v="25"/>
          <ac:spMkLst>
            <pc:docMk/>
            <pc:sldMk cId="2840932422" sldId="2147470184"/>
            <ac:spMk id="10" creationId="{E09BA1D0-45F1-1660-384B-4B1043BFC997}"/>
          </ac:spMkLst>
        </pc:spChg>
      </pc:sldChg>
      <pc:sldChg chg="addSp delSp modSp mod">
        <pc:chgData name="Alexandre Zanetti de Almeida" userId="129d4ce6-e715-4d33-b4c4-312f1656225b" providerId="ADAL" clId="{7AD9C9E4-D1AE-45AC-A839-3E72D235218A}" dt="2025-06-27T14:43:25.670" v="1847" actId="478"/>
        <pc:sldMkLst>
          <pc:docMk/>
          <pc:sldMk cId="2698931172" sldId="2147470252"/>
        </pc:sldMkLst>
      </pc:sldChg>
      <pc:sldChg chg="modSp del mod">
        <pc:chgData name="Alexandre Zanetti de Almeida" userId="129d4ce6-e715-4d33-b4c4-312f1656225b" providerId="ADAL" clId="{7AD9C9E4-D1AE-45AC-A839-3E72D235218A}" dt="2025-06-25T16:45:53.321" v="749" actId="47"/>
        <pc:sldMkLst>
          <pc:docMk/>
          <pc:sldMk cId="568721575" sldId="2147470292"/>
        </pc:sldMkLst>
      </pc:sldChg>
      <pc:sldChg chg="del">
        <pc:chgData name="Alexandre Zanetti de Almeida" userId="129d4ce6-e715-4d33-b4c4-312f1656225b" providerId="ADAL" clId="{7AD9C9E4-D1AE-45AC-A839-3E72D235218A}" dt="2025-06-26T09:35:55.911" v="1207" actId="47"/>
        <pc:sldMkLst>
          <pc:docMk/>
          <pc:sldMk cId="1097150443" sldId="2147470293"/>
        </pc:sldMkLst>
      </pc:sldChg>
      <pc:sldChg chg="del">
        <pc:chgData name="Alexandre Zanetti de Almeida" userId="129d4ce6-e715-4d33-b4c4-312f1656225b" providerId="ADAL" clId="{7AD9C9E4-D1AE-45AC-A839-3E72D235218A}" dt="2025-06-26T09:43:13.754" v="1322" actId="47"/>
        <pc:sldMkLst>
          <pc:docMk/>
          <pc:sldMk cId="3179614981" sldId="2147470294"/>
        </pc:sldMkLst>
      </pc:sldChg>
      <pc:sldChg chg="modSp del mod">
        <pc:chgData name="Alexandre Zanetti de Almeida" userId="129d4ce6-e715-4d33-b4c4-312f1656225b" providerId="ADAL" clId="{7AD9C9E4-D1AE-45AC-A839-3E72D235218A}" dt="2025-06-26T14:33:14.652" v="1515" actId="47"/>
        <pc:sldMkLst>
          <pc:docMk/>
          <pc:sldMk cId="3633356812" sldId="2147470295"/>
        </pc:sldMkLst>
      </pc:sldChg>
      <pc:sldChg chg="addSp delSp modSp mod modShow">
        <pc:chgData name="Alexandre Zanetti de Almeida" userId="129d4ce6-e715-4d33-b4c4-312f1656225b" providerId="ADAL" clId="{7AD9C9E4-D1AE-45AC-A839-3E72D235218A}" dt="2025-08-12T11:59:53.376" v="2632" actId="20577"/>
        <pc:sldMkLst>
          <pc:docMk/>
          <pc:sldMk cId="1816411801" sldId="2147470296"/>
        </pc:sldMkLst>
        <pc:spChg chg="mod ord">
          <ac:chgData name="Alexandre Zanetti de Almeida" userId="129d4ce6-e715-4d33-b4c4-312f1656225b" providerId="ADAL" clId="{7AD9C9E4-D1AE-45AC-A839-3E72D235218A}" dt="2025-06-26T14:47:28.290" v="1830" actId="14100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5" creationId="{60862B6B-742C-9D18-C8D8-2CF81341E26A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8" creationId="{906AA797-F274-FAC6-22AA-681AD4F6AA09}"/>
          </ac:spMkLst>
        </pc:spChg>
        <pc:spChg chg="mod">
          <ac:chgData name="Alexandre Zanetti de Almeida" userId="129d4ce6-e715-4d33-b4c4-312f1656225b" providerId="ADAL" clId="{7AD9C9E4-D1AE-45AC-A839-3E72D235218A}" dt="2025-07-15T11:47:55.816" v="2123" actId="20577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1" creationId="{1896361C-C227-9D49-CB6E-4C8B815038F8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2" creationId="{3EDBE686-8D56-3943-206D-01BBC10C8610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73" creationId="{9782924C-A33C-BDA6-2DDF-EF3C863461FE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0" creationId="{3AFCF568-767C-1C83-E17A-57F0975D96AF}"/>
          </ac:spMkLst>
        </pc:spChg>
        <pc:spChg chg="mod">
          <ac:chgData name="Alexandre Zanetti de Almeida" userId="129d4ce6-e715-4d33-b4c4-312f1656225b" providerId="ADAL" clId="{7AD9C9E4-D1AE-45AC-A839-3E72D235218A}" dt="2025-08-12T11:59:53.376" v="2632" actId="20577"/>
          <ac:spMkLst>
            <pc:docMk/>
            <pc:sldMk cId="1816411801" sldId="2147470296"/>
            <ac:spMk id="81" creationId="{86E13D55-E39D-02AF-9E02-FCC9B97F567B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82" creationId="{A5076F38-F3A3-0028-8F87-B234461B94BD}"/>
          </ac:spMkLst>
        </pc:spChg>
        <pc:spChg chg="mod">
          <ac:chgData name="Alexandre Zanetti de Almeida" userId="129d4ce6-e715-4d33-b4c4-312f1656225b" providerId="ADAL" clId="{7AD9C9E4-D1AE-45AC-A839-3E72D235218A}" dt="2025-06-25T10:56:45.247" v="518" actId="164"/>
          <ac:spMkLst>
            <pc:docMk/>
            <pc:sldMk cId="1816411801" sldId="2147470296"/>
            <ac:spMk id="110" creationId="{0045095D-7CB7-3FE9-D86E-7DA7AEE6B1F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1" creationId="{8B2895D9-FCB9-90EA-5839-10C229C60C2E}"/>
          </ac:spMkLst>
        </pc:spChg>
        <pc:spChg chg="mod">
          <ac:chgData name="Alexandre Zanetti de Almeida" userId="129d4ce6-e715-4d33-b4c4-312f1656225b" providerId="ADAL" clId="{7AD9C9E4-D1AE-45AC-A839-3E72D235218A}" dt="2025-06-17T19:22:37.779" v="351" actId="166"/>
          <ac:spMkLst>
            <pc:docMk/>
            <pc:sldMk cId="1816411801" sldId="2147470296"/>
            <ac:spMk id="112" creationId="{95B20AF7-0BF9-497F-BAF2-0F7C6567CD9F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3" creationId="{7901A60E-9A3C-5FAF-24F0-3F5E9B371839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4" creationId="{D3327D97-8B12-4F8C-64FE-2CD7C73157F0}"/>
          </ac:spMkLst>
        </pc:spChg>
        <pc:spChg chg="mod">
          <ac:chgData name="Alexandre Zanetti de Almeida" userId="129d4ce6-e715-4d33-b4c4-312f1656225b" providerId="ADAL" clId="{7AD9C9E4-D1AE-45AC-A839-3E72D235218A}" dt="2025-06-25T16:43:20.922" v="689" actId="255"/>
          <ac:spMkLst>
            <pc:docMk/>
            <pc:sldMk cId="1816411801" sldId="2147470296"/>
            <ac:spMk id="115" creationId="{2D8BE515-4EF6-36A7-340F-36AAA32D3985}"/>
          </ac:spMkLst>
        </pc:spChg>
        <pc:grpChg chg="mod">
          <ac:chgData name="Alexandre Zanetti de Almeida" userId="129d4ce6-e715-4d33-b4c4-312f1656225b" providerId="ADAL" clId="{7AD9C9E4-D1AE-45AC-A839-3E72D235218A}" dt="2025-06-25T10:57:13.349" v="523" actId="14100"/>
          <ac:grpSpMkLst>
            <pc:docMk/>
            <pc:sldMk cId="1816411801" sldId="2147470296"/>
            <ac:grpSpMk id="12" creationId="{2212E6A6-5BF5-3A3F-6BE6-662D77AE4CCC}"/>
          </ac:grpSpMkLst>
        </pc:grpChg>
        <pc:picChg chg="mod">
          <ac:chgData name="Alexandre Zanetti de Almeida" userId="129d4ce6-e715-4d33-b4c4-312f1656225b" providerId="ADAL" clId="{7AD9C9E4-D1AE-45AC-A839-3E72D235218A}" dt="2025-06-26T14:47:15.373" v="1827" actId="1038"/>
          <ac:picMkLst>
            <pc:docMk/>
            <pc:sldMk cId="1816411801" sldId="2147470296"/>
            <ac:picMk id="7" creationId="{E2F853CE-CBFB-43B3-1AEF-6292CD197CAA}"/>
          </ac:picMkLst>
        </pc:pic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9" creationId="{2C6212CD-3750-B6FC-F122-7422D55B2828}"/>
          </ac:cxnSpMkLst>
        </pc:cxnChg>
        <pc:cxnChg chg="mod">
          <ac:chgData name="Alexandre Zanetti de Almeida" userId="129d4ce6-e715-4d33-b4c4-312f1656225b" providerId="ADAL" clId="{7AD9C9E4-D1AE-45AC-A839-3E72D235218A}" dt="2025-06-25T10:57:07.403" v="522" actId="14100"/>
          <ac:cxnSpMkLst>
            <pc:docMk/>
            <pc:sldMk cId="1816411801" sldId="2147470296"/>
            <ac:cxnSpMk id="117" creationId="{28B1923D-4A8E-248E-6FDC-641477E02B6C}"/>
          </ac:cxnSpMkLst>
        </pc:cxnChg>
      </pc:sldChg>
      <pc:sldChg chg="add del">
        <pc:chgData name="Alexandre Zanetti de Almeida" userId="129d4ce6-e715-4d33-b4c4-312f1656225b" providerId="ADAL" clId="{7AD9C9E4-D1AE-45AC-A839-3E72D235218A}" dt="2025-06-26T14:45:13.789" v="1696" actId="47"/>
        <pc:sldMkLst>
          <pc:docMk/>
          <pc:sldMk cId="2579482346" sldId="2147470297"/>
        </pc:sldMkLst>
      </pc:sldChg>
      <pc:sldChg chg="del">
        <pc:chgData name="Alexandre Zanetti de Almeida" userId="129d4ce6-e715-4d33-b4c4-312f1656225b" providerId="ADAL" clId="{7AD9C9E4-D1AE-45AC-A839-3E72D235218A}" dt="2025-06-25T16:47:54.106" v="799" actId="47"/>
        <pc:sldMkLst>
          <pc:docMk/>
          <pc:sldMk cId="3541679384" sldId="2147470298"/>
        </pc:sldMkLst>
      </pc:sldChg>
      <pc:sldChg chg="modSp mod">
        <pc:chgData name="Alexandre Zanetti de Almeida" userId="129d4ce6-e715-4d33-b4c4-312f1656225b" providerId="ADAL" clId="{7AD9C9E4-D1AE-45AC-A839-3E72D235218A}" dt="2025-07-15T12:03:20.263" v="2177"/>
        <pc:sldMkLst>
          <pc:docMk/>
          <pc:sldMk cId="1851950588" sldId="2147470299"/>
        </pc:sldMkLst>
        <pc:graphicFrameChg chg="mod modGraphic">
          <ac:chgData name="Alexandre Zanetti de Almeida" userId="129d4ce6-e715-4d33-b4c4-312f1656225b" providerId="ADAL" clId="{7AD9C9E4-D1AE-45AC-A839-3E72D235218A}" dt="2025-07-15T12:03:20.263" v="2177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</pc:sldChg>
      <pc:sldChg chg="addSp delSp modSp add mod modShow">
        <pc:chgData name="Alexandre Zanetti de Almeida" userId="129d4ce6-e715-4d33-b4c4-312f1656225b" providerId="ADAL" clId="{7AD9C9E4-D1AE-45AC-A839-3E72D235218A}" dt="2025-07-04T13:23:42.786" v="2080" actId="255"/>
        <pc:sldMkLst>
          <pc:docMk/>
          <pc:sldMk cId="1442251791" sldId="2147470301"/>
        </pc:sldMkLst>
        <pc:spChg chg="mod">
          <ac:chgData name="Alexandre Zanetti de Almeida" userId="129d4ce6-e715-4d33-b4c4-312f1656225b" providerId="ADAL" clId="{7AD9C9E4-D1AE-45AC-A839-3E72D235218A}" dt="2025-06-26T14:47:34.041" v="1832" actId="14100"/>
          <ac:spMkLst>
            <pc:docMk/>
            <pc:sldMk cId="1442251791" sldId="2147470301"/>
            <ac:spMk id="2" creationId="{DFA11D21-E0C8-445E-C4C7-2DEE33DA6521}"/>
          </ac:spMkLst>
        </pc:spChg>
        <pc:spChg chg="mod">
          <ac:chgData name="Alexandre Zanetti de Almeida" userId="129d4ce6-e715-4d33-b4c4-312f1656225b" providerId="ADAL" clId="{7AD9C9E4-D1AE-45AC-A839-3E72D235218A}" dt="2025-07-04T13:23:42.786" v="2080" actId="255"/>
          <ac:spMkLst>
            <pc:docMk/>
            <pc:sldMk cId="1442251791" sldId="2147470301"/>
            <ac:spMk id="68" creationId="{40CEAB8B-AF15-7719-4FBB-54194ABD0BD7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0" creationId="{56CE2DBF-749D-B1AC-DE31-6ABFA3F9A6F2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1" creationId="{E217E475-E4C4-E1CB-C11F-D118456F53AF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82" creationId="{BD8A310B-262F-A71F-5642-2E3D1737AD66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3" creationId="{A659C8AA-58AF-5885-6DD5-3F8DAD1373E0}"/>
          </ac:spMkLst>
        </pc:spChg>
        <pc:spChg chg="mod">
          <ac:chgData name="Alexandre Zanetti de Almeida" userId="129d4ce6-e715-4d33-b4c4-312f1656225b" providerId="ADAL" clId="{7AD9C9E4-D1AE-45AC-A839-3E72D235218A}" dt="2025-06-25T16:43:12.207" v="686" actId="255"/>
          <ac:spMkLst>
            <pc:docMk/>
            <pc:sldMk cId="1442251791" sldId="2147470301"/>
            <ac:spMk id="114" creationId="{943D12D0-E647-5A30-46F3-E578F2028CC1}"/>
          </ac:spMkLst>
        </pc:spChg>
        <pc:spChg chg="mod">
          <ac:chgData name="Alexandre Zanetti de Almeida" userId="129d4ce6-e715-4d33-b4c4-312f1656225b" providerId="ADAL" clId="{7AD9C9E4-D1AE-45AC-A839-3E72D235218A}" dt="2025-06-25T16:43:45.618" v="706" actId="6549"/>
          <ac:spMkLst>
            <pc:docMk/>
            <pc:sldMk cId="1442251791" sldId="2147470301"/>
            <ac:spMk id="115" creationId="{01A9912B-4DEA-63F8-1D10-1F8CA0F95CE5}"/>
          </ac:spMkLst>
        </pc:spChg>
        <pc:picChg chg="add mod">
          <ac:chgData name="Alexandre Zanetti de Almeida" userId="129d4ce6-e715-4d33-b4c4-312f1656225b" providerId="ADAL" clId="{7AD9C9E4-D1AE-45AC-A839-3E72D235218A}" dt="2025-06-26T14:47:06.314" v="1806" actId="1037"/>
          <ac:picMkLst>
            <pc:docMk/>
            <pc:sldMk cId="1442251791" sldId="2147470301"/>
            <ac:picMk id="14" creationId="{B2C2B882-8B72-7DD0-DA7F-0C1B5291DE44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3:50.746" v="2082" actId="255"/>
        <pc:sldMkLst>
          <pc:docMk/>
          <pc:sldMk cId="369091421" sldId="2147470302"/>
        </pc:sldMkLst>
        <pc:spChg chg="mod">
          <ac:chgData name="Alexandre Zanetti de Almeida" userId="129d4ce6-e715-4d33-b4c4-312f1656225b" providerId="ADAL" clId="{7AD9C9E4-D1AE-45AC-A839-3E72D235218A}" dt="2025-06-26T14:47:40.504" v="1834" actId="14100"/>
          <ac:spMkLst>
            <pc:docMk/>
            <pc:sldMk cId="369091421" sldId="2147470302"/>
            <ac:spMk id="2" creationId="{33804D4A-0F11-C830-BBFE-DDFCCB8E5997}"/>
          </ac:spMkLst>
        </pc:spChg>
        <pc:spChg chg="mod">
          <ac:chgData name="Alexandre Zanetti de Almeida" userId="129d4ce6-e715-4d33-b4c4-312f1656225b" providerId="ADAL" clId="{7AD9C9E4-D1AE-45AC-A839-3E72D235218A}" dt="2025-07-04T13:23:50.746" v="2082" actId="255"/>
          <ac:spMkLst>
            <pc:docMk/>
            <pc:sldMk cId="369091421" sldId="2147470302"/>
            <ac:spMk id="68" creationId="{74D8C5C4-2476-EAE0-83DD-61CEB1955282}"/>
          </ac:spMkLst>
        </pc:spChg>
        <pc:spChg chg="mod">
          <ac:chgData name="Alexandre Zanetti de Almeida" userId="129d4ce6-e715-4d33-b4c4-312f1656225b" providerId="ADAL" clId="{7AD9C9E4-D1AE-45AC-A839-3E72D235218A}" dt="2025-06-25T16:47:28.176" v="793" actId="6549"/>
          <ac:spMkLst>
            <pc:docMk/>
            <pc:sldMk cId="369091421" sldId="2147470302"/>
            <ac:spMk id="81" creationId="{6402C097-A217-8980-EE5E-EEE2968D1AC9}"/>
          </ac:spMkLst>
        </pc:spChg>
        <pc:spChg chg="mod">
          <ac:chgData name="Alexandre Zanetti de Almeida" userId="129d4ce6-e715-4d33-b4c4-312f1656225b" providerId="ADAL" clId="{7AD9C9E4-D1AE-45AC-A839-3E72D235218A}" dt="2025-06-25T16:46:52.670" v="760"/>
          <ac:spMkLst>
            <pc:docMk/>
            <pc:sldMk cId="369091421" sldId="2147470302"/>
            <ac:spMk id="82" creationId="{5B2298DE-BAFF-51D2-BDD3-DDF7C25E47FA}"/>
          </ac:spMkLst>
        </pc:spChg>
        <pc:spChg chg="mod">
          <ac:chgData name="Alexandre Zanetti de Almeida" userId="129d4ce6-e715-4d33-b4c4-312f1656225b" providerId="ADAL" clId="{7AD9C9E4-D1AE-45AC-A839-3E72D235218A}" dt="2025-06-25T16:47:33.025" v="794"/>
          <ac:spMkLst>
            <pc:docMk/>
            <pc:sldMk cId="369091421" sldId="2147470302"/>
            <ac:spMk id="113" creationId="{310C7A11-7A90-33EE-16E2-0F16F7D37693}"/>
          </ac:spMkLst>
        </pc:spChg>
        <pc:spChg chg="mod">
          <ac:chgData name="Alexandre Zanetti de Almeida" userId="129d4ce6-e715-4d33-b4c4-312f1656225b" providerId="ADAL" clId="{7AD9C9E4-D1AE-45AC-A839-3E72D235218A}" dt="2025-06-25T16:47:09.294" v="764" actId="6549"/>
          <ac:spMkLst>
            <pc:docMk/>
            <pc:sldMk cId="369091421" sldId="2147470302"/>
            <ac:spMk id="114" creationId="{BDE3A444-A764-4F6F-786E-830BD50CAAE6}"/>
          </ac:spMkLst>
        </pc:spChg>
        <pc:spChg chg="mod">
          <ac:chgData name="Alexandre Zanetti de Almeida" userId="129d4ce6-e715-4d33-b4c4-312f1656225b" providerId="ADAL" clId="{7AD9C9E4-D1AE-45AC-A839-3E72D235218A}" dt="2025-06-25T16:47:19.071" v="777" actId="20577"/>
          <ac:spMkLst>
            <pc:docMk/>
            <pc:sldMk cId="369091421" sldId="2147470302"/>
            <ac:spMk id="115" creationId="{E5E27E1D-CD79-0F01-8426-8755570AC0EF}"/>
          </ac:spMkLst>
        </pc:spChg>
        <pc:picChg chg="add mod">
          <ac:chgData name="Alexandre Zanetti de Almeida" userId="129d4ce6-e715-4d33-b4c4-312f1656225b" providerId="ADAL" clId="{7AD9C9E4-D1AE-45AC-A839-3E72D235218A}" dt="2025-06-26T14:46:56.454" v="1781" actId="1037"/>
          <ac:picMkLst>
            <pc:docMk/>
            <pc:sldMk cId="369091421" sldId="2147470302"/>
            <ac:picMk id="14" creationId="{64CDD554-CC7F-7C57-A6DB-56DFFA1157B1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04.404" v="2084" actId="255"/>
        <pc:sldMkLst>
          <pc:docMk/>
          <pc:sldMk cId="3080388153" sldId="2147470303"/>
        </pc:sldMkLst>
        <pc:spChg chg="mod">
          <ac:chgData name="Alexandre Zanetti de Almeida" userId="129d4ce6-e715-4d33-b4c4-312f1656225b" providerId="ADAL" clId="{7AD9C9E4-D1AE-45AC-A839-3E72D235218A}" dt="2025-06-26T14:47:46.794" v="1836" actId="14100"/>
          <ac:spMkLst>
            <pc:docMk/>
            <pc:sldMk cId="3080388153" sldId="2147470303"/>
            <ac:spMk id="2" creationId="{64E4017E-2FB5-2725-D55B-A9C8F8244E96}"/>
          </ac:spMkLst>
        </pc:spChg>
        <pc:spChg chg="mod">
          <ac:chgData name="Alexandre Zanetti de Almeida" userId="129d4ce6-e715-4d33-b4c4-312f1656225b" providerId="ADAL" clId="{7AD9C9E4-D1AE-45AC-A839-3E72D235218A}" dt="2025-07-04T13:24:04.404" v="2084" actId="255"/>
          <ac:spMkLst>
            <pc:docMk/>
            <pc:sldMk cId="3080388153" sldId="2147470303"/>
            <ac:spMk id="68" creationId="{905EDB74-1E17-9AB7-61DB-7DE3D18D1B03}"/>
          </ac:spMkLst>
        </pc:spChg>
        <pc:spChg chg="mod">
          <ac:chgData name="Alexandre Zanetti de Almeida" userId="129d4ce6-e715-4d33-b4c4-312f1656225b" providerId="ADAL" clId="{7AD9C9E4-D1AE-45AC-A839-3E72D235218A}" dt="2025-06-26T09:22:37.406" v="1016" actId="6549"/>
          <ac:spMkLst>
            <pc:docMk/>
            <pc:sldMk cId="3080388153" sldId="2147470303"/>
            <ac:spMk id="81" creationId="{7229D543-311F-C4D7-24BB-207C1F47A30A}"/>
          </ac:spMkLst>
        </pc:spChg>
        <pc:spChg chg="mod">
          <ac:chgData name="Alexandre Zanetti de Almeida" userId="129d4ce6-e715-4d33-b4c4-312f1656225b" providerId="ADAL" clId="{7AD9C9E4-D1AE-45AC-A839-3E72D235218A}" dt="2025-06-26T09:22:52.726" v="1019" actId="20577"/>
          <ac:spMkLst>
            <pc:docMk/>
            <pc:sldMk cId="3080388153" sldId="2147470303"/>
            <ac:spMk id="82" creationId="{008B2C78-A0D7-766A-E96D-8050B99AF58E}"/>
          </ac:spMkLst>
        </pc:spChg>
        <pc:spChg chg="mod">
          <ac:chgData name="Alexandre Zanetti de Almeida" userId="129d4ce6-e715-4d33-b4c4-312f1656225b" providerId="ADAL" clId="{7AD9C9E4-D1AE-45AC-A839-3E72D235218A}" dt="2025-06-26T09:33:06.438" v="1137" actId="6549"/>
          <ac:spMkLst>
            <pc:docMk/>
            <pc:sldMk cId="3080388153" sldId="2147470303"/>
            <ac:spMk id="113" creationId="{785A1DF2-B748-8DFB-A47B-F2735F7B2E06}"/>
          </ac:spMkLst>
        </pc:spChg>
        <pc:spChg chg="add del mod">
          <ac:chgData name="Alexandre Zanetti de Almeida" userId="129d4ce6-e715-4d33-b4c4-312f1656225b" providerId="ADAL" clId="{7AD9C9E4-D1AE-45AC-A839-3E72D235218A}" dt="2025-06-26T09:33:15.642" v="1139"/>
          <ac:spMkLst>
            <pc:docMk/>
            <pc:sldMk cId="3080388153" sldId="2147470303"/>
            <ac:spMk id="114" creationId="{D44D5055-8298-C85F-9B17-C8D84FE80105}"/>
          </ac:spMkLst>
        </pc:spChg>
        <pc:spChg chg="mod">
          <ac:chgData name="Alexandre Zanetti de Almeida" userId="129d4ce6-e715-4d33-b4c4-312f1656225b" providerId="ADAL" clId="{7AD9C9E4-D1AE-45AC-A839-3E72D235218A}" dt="2025-07-04T13:19:37.113" v="1967" actId="108"/>
          <ac:spMkLst>
            <pc:docMk/>
            <pc:sldMk cId="3080388153" sldId="2147470303"/>
            <ac:spMk id="115" creationId="{A4D31653-F4FB-5718-5D6A-AAA87FBFB702}"/>
          </ac:spMkLst>
        </pc:spChg>
        <pc:picChg chg="add mod">
          <ac:chgData name="Alexandre Zanetti de Almeida" userId="129d4ce6-e715-4d33-b4c4-312f1656225b" providerId="ADAL" clId="{7AD9C9E4-D1AE-45AC-A839-3E72D235218A}" dt="2025-06-26T14:46:46.059" v="1752" actId="1037"/>
          <ac:picMkLst>
            <pc:docMk/>
            <pc:sldMk cId="3080388153" sldId="2147470303"/>
            <ac:picMk id="17" creationId="{D129A4EE-8EA1-2174-7897-E5D7468F1695}"/>
          </ac:picMkLst>
        </pc:picChg>
      </pc:sldChg>
      <pc:sldChg chg="addSp delSp modSp add mod modShow">
        <pc:chgData name="Alexandre Zanetti de Almeida" userId="129d4ce6-e715-4d33-b4c4-312f1656225b" providerId="ADAL" clId="{7AD9C9E4-D1AE-45AC-A839-3E72D235218A}" dt="2025-07-04T13:24:13.817" v="2086" actId="255"/>
        <pc:sldMkLst>
          <pc:docMk/>
          <pc:sldMk cId="1759209980" sldId="2147470304"/>
        </pc:sldMkLst>
        <pc:spChg chg="mod">
          <ac:chgData name="Alexandre Zanetti de Almeida" userId="129d4ce6-e715-4d33-b4c4-312f1656225b" providerId="ADAL" clId="{7AD9C9E4-D1AE-45AC-A839-3E72D235218A}" dt="2025-06-26T14:47:52.654" v="1838" actId="14100"/>
          <ac:spMkLst>
            <pc:docMk/>
            <pc:sldMk cId="1759209980" sldId="2147470304"/>
            <ac:spMk id="2" creationId="{926A3D98-2777-26D4-8051-C5520A52387D}"/>
          </ac:spMkLst>
        </pc:spChg>
        <pc:spChg chg="mod">
          <ac:chgData name="Alexandre Zanetti de Almeida" userId="129d4ce6-e715-4d33-b4c4-312f1656225b" providerId="ADAL" clId="{7AD9C9E4-D1AE-45AC-A839-3E72D235218A}" dt="2025-07-04T13:24:13.817" v="2086" actId="255"/>
          <ac:spMkLst>
            <pc:docMk/>
            <pc:sldMk cId="1759209980" sldId="2147470304"/>
            <ac:spMk id="68" creationId="{364E4895-6EC3-B658-BE73-CEDC3F0FCA20}"/>
          </ac:spMkLst>
        </pc:spChg>
        <pc:spChg chg="mod">
          <ac:chgData name="Alexandre Zanetti de Almeida" userId="129d4ce6-e715-4d33-b4c4-312f1656225b" providerId="ADAL" clId="{7AD9C9E4-D1AE-45AC-A839-3E72D235218A}" dt="2025-06-26T09:36:45.406" v="1221"/>
          <ac:spMkLst>
            <pc:docMk/>
            <pc:sldMk cId="1759209980" sldId="2147470304"/>
            <ac:spMk id="80" creationId="{E34124AF-FBD4-9951-9A8F-0872FD4B94DF}"/>
          </ac:spMkLst>
        </pc:spChg>
        <pc:spChg chg="mod">
          <ac:chgData name="Alexandre Zanetti de Almeida" userId="129d4ce6-e715-4d33-b4c4-312f1656225b" providerId="ADAL" clId="{7AD9C9E4-D1AE-45AC-A839-3E72D235218A}" dt="2025-06-26T09:36:51.656" v="1222"/>
          <ac:spMkLst>
            <pc:docMk/>
            <pc:sldMk cId="1759209980" sldId="2147470304"/>
            <ac:spMk id="81" creationId="{9D61ED8F-87BA-8133-AB13-EF9B53087708}"/>
          </ac:spMkLst>
        </pc:spChg>
        <pc:spChg chg="mod">
          <ac:chgData name="Alexandre Zanetti de Almeida" userId="129d4ce6-e715-4d33-b4c4-312f1656225b" providerId="ADAL" clId="{7AD9C9E4-D1AE-45AC-A839-3E72D235218A}" dt="2025-06-26T09:40:06.695" v="1267" actId="108"/>
          <ac:spMkLst>
            <pc:docMk/>
            <pc:sldMk cId="1759209980" sldId="2147470304"/>
            <ac:spMk id="82" creationId="{0260CB04-7B34-3B67-C703-D07B81742FB8}"/>
          </ac:spMkLst>
        </pc:spChg>
        <pc:spChg chg="mod">
          <ac:chgData name="Alexandre Zanetti de Almeida" userId="129d4ce6-e715-4d33-b4c4-312f1656225b" providerId="ADAL" clId="{7AD9C9E4-D1AE-45AC-A839-3E72D235218A}" dt="2025-06-26T09:41:37.454" v="1294" actId="6549"/>
          <ac:spMkLst>
            <pc:docMk/>
            <pc:sldMk cId="1759209980" sldId="2147470304"/>
            <ac:spMk id="113" creationId="{369CFBBF-293C-BE50-0DFD-05E69491B1FD}"/>
          </ac:spMkLst>
        </pc:spChg>
        <pc:spChg chg="mod">
          <ac:chgData name="Alexandre Zanetti de Almeida" userId="129d4ce6-e715-4d33-b4c4-312f1656225b" providerId="ADAL" clId="{7AD9C9E4-D1AE-45AC-A839-3E72D235218A}" dt="2025-06-26T09:41:52.009" v="1296" actId="6549"/>
          <ac:spMkLst>
            <pc:docMk/>
            <pc:sldMk cId="1759209980" sldId="2147470304"/>
            <ac:spMk id="114" creationId="{AC9A9EB1-C2BA-6E90-2B14-082B24B7B3B2}"/>
          </ac:spMkLst>
        </pc:spChg>
        <pc:spChg chg="mod">
          <ac:chgData name="Alexandre Zanetti de Almeida" userId="129d4ce6-e715-4d33-b4c4-312f1656225b" providerId="ADAL" clId="{7AD9C9E4-D1AE-45AC-A839-3E72D235218A}" dt="2025-06-26T09:41:54.808" v="1297" actId="6549"/>
          <ac:spMkLst>
            <pc:docMk/>
            <pc:sldMk cId="1759209980" sldId="2147470304"/>
            <ac:spMk id="115" creationId="{DF807E0E-3292-7D4E-C9CA-247931895140}"/>
          </ac:spMkLst>
        </pc:spChg>
        <pc:picChg chg="add mod">
          <ac:chgData name="Alexandre Zanetti de Almeida" userId="129d4ce6-e715-4d33-b4c4-312f1656225b" providerId="ADAL" clId="{7AD9C9E4-D1AE-45AC-A839-3E72D235218A}" dt="2025-06-26T14:46:37.499" v="1745" actId="1038"/>
          <ac:picMkLst>
            <pc:docMk/>
            <pc:sldMk cId="1759209980" sldId="2147470304"/>
            <ac:picMk id="7" creationId="{4D32BB70-E526-C2D8-F717-A71C7BFDD2D3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17.637" v="2183"/>
        <pc:sldMkLst>
          <pc:docMk/>
          <pc:sldMk cId="1459291813" sldId="2147470305"/>
        </pc:sldMkLst>
        <pc:spChg chg="mod">
          <ac:chgData name="Alexandre Zanetti de Almeida" userId="129d4ce6-e715-4d33-b4c4-312f1656225b" providerId="ADAL" clId="{7AD9C9E4-D1AE-45AC-A839-3E72D235218A}" dt="2025-06-26T14:47:58.759" v="1840" actId="14100"/>
          <ac:spMkLst>
            <pc:docMk/>
            <pc:sldMk cId="1459291813" sldId="2147470305"/>
            <ac:spMk id="2" creationId="{5462985D-E8A5-272E-A7D2-DB062DFED794}"/>
          </ac:spMkLst>
        </pc:spChg>
        <pc:spChg chg="mod">
          <ac:chgData name="Alexandre Zanetti de Almeida" userId="129d4ce6-e715-4d33-b4c4-312f1656225b" providerId="ADAL" clId="{7AD9C9E4-D1AE-45AC-A839-3E72D235218A}" dt="2025-06-26T14:46:02.963" v="1728" actId="1036"/>
          <ac:spMkLst>
            <pc:docMk/>
            <pc:sldMk cId="1459291813" sldId="2147470305"/>
            <ac:spMk id="15" creationId="{67E58EA3-D56A-F7A6-C628-9E0EDA74644B}"/>
          </ac:spMkLst>
        </pc:spChg>
        <pc:spChg chg="mod">
          <ac:chgData name="Alexandre Zanetti de Almeida" userId="129d4ce6-e715-4d33-b4c4-312f1656225b" providerId="ADAL" clId="{7AD9C9E4-D1AE-45AC-A839-3E72D235218A}" dt="2025-07-04T13:24:26.880" v="2088" actId="255"/>
          <ac:spMkLst>
            <pc:docMk/>
            <pc:sldMk cId="1459291813" sldId="2147470305"/>
            <ac:spMk id="68" creationId="{FDC88DAF-9EA1-4D27-9DE8-01AC0E713E71}"/>
          </ac:spMkLst>
        </pc:spChg>
        <pc:spChg chg="mod">
          <ac:chgData name="Alexandre Zanetti de Almeida" userId="129d4ce6-e715-4d33-b4c4-312f1656225b" providerId="ADAL" clId="{7AD9C9E4-D1AE-45AC-A839-3E72D235218A}" dt="2025-06-26T09:44:30.243" v="1379" actId="108"/>
          <ac:spMkLst>
            <pc:docMk/>
            <pc:sldMk cId="1459291813" sldId="2147470305"/>
            <ac:spMk id="82" creationId="{8F575C0E-CED2-7A2A-7B88-04E95FAE909F}"/>
          </ac:spMkLst>
        </pc:spChg>
        <pc:spChg chg="mod">
          <ac:chgData name="Alexandre Zanetti de Almeida" userId="129d4ce6-e715-4d33-b4c4-312f1656225b" providerId="ADAL" clId="{7AD9C9E4-D1AE-45AC-A839-3E72D235218A}" dt="2025-06-26T09:48:00.853" v="1490" actId="20577"/>
          <ac:spMkLst>
            <pc:docMk/>
            <pc:sldMk cId="1459291813" sldId="2147470305"/>
            <ac:spMk id="113" creationId="{D232A667-E19D-F672-84FD-611DF0343022}"/>
          </ac:spMkLst>
        </pc:spChg>
        <pc:spChg chg="mod">
          <ac:chgData name="Alexandre Zanetti de Almeida" userId="129d4ce6-e715-4d33-b4c4-312f1656225b" providerId="ADAL" clId="{7AD9C9E4-D1AE-45AC-A839-3E72D235218A}" dt="2025-06-26T09:48:08.403" v="1507" actId="20577"/>
          <ac:spMkLst>
            <pc:docMk/>
            <pc:sldMk cId="1459291813" sldId="2147470305"/>
            <ac:spMk id="114" creationId="{BA989D99-5904-8C2C-7F42-B8BB456FE6AE}"/>
          </ac:spMkLst>
        </pc:spChg>
        <pc:spChg chg="mod">
          <ac:chgData name="Alexandre Zanetti de Almeida" userId="129d4ce6-e715-4d33-b4c4-312f1656225b" providerId="ADAL" clId="{7AD9C9E4-D1AE-45AC-A839-3E72D235218A}" dt="2025-06-26T09:48:19.802" v="1510"/>
          <ac:spMkLst>
            <pc:docMk/>
            <pc:sldMk cId="1459291813" sldId="2147470305"/>
            <ac:spMk id="115" creationId="{3742925B-5E64-CE57-70D5-6C20A7EEB91B}"/>
          </ac:spMkLst>
        </pc:spChg>
        <pc:grpChg chg="add mod">
          <ac:chgData name="Alexandre Zanetti de Almeida" userId="129d4ce6-e715-4d33-b4c4-312f1656225b" providerId="ADAL" clId="{7AD9C9E4-D1AE-45AC-A839-3E72D235218A}" dt="2025-06-26T14:46:02.963" v="1728" actId="1036"/>
          <ac:grpSpMkLst>
            <pc:docMk/>
            <pc:sldMk cId="1459291813" sldId="2147470305"/>
            <ac:grpSpMk id="14" creationId="{EA15D8CA-F821-BA5F-0FC5-2E0F9EE988FF}"/>
          </ac:grpSpMkLst>
        </pc:grpChg>
        <pc:picChg chg="mod">
          <ac:chgData name="Alexandre Zanetti de Almeida" userId="129d4ce6-e715-4d33-b4c4-312f1656225b" providerId="ADAL" clId="{7AD9C9E4-D1AE-45AC-A839-3E72D235218A}" dt="2025-06-26T14:46:02.963" v="1728" actId="1036"/>
          <ac:picMkLst>
            <pc:docMk/>
            <pc:sldMk cId="1459291813" sldId="2147470305"/>
            <ac:picMk id="17" creationId="{18172668-9698-80F8-A6CF-EFDCFD4D12A5}"/>
          </ac:picMkLst>
        </pc:picChg>
      </pc:sldChg>
      <pc:sldChg chg="addSp delSp modSp add mod ord modShow">
        <pc:chgData name="Alexandre Zanetti de Almeida" userId="129d4ce6-e715-4d33-b4c4-312f1656225b" providerId="ADAL" clId="{7AD9C9E4-D1AE-45AC-A839-3E72D235218A}" dt="2025-07-15T12:09:00.101" v="2181"/>
        <pc:sldMkLst>
          <pc:docMk/>
          <pc:sldMk cId="316286447" sldId="2147470306"/>
        </pc:sldMkLst>
        <pc:spChg chg="mod">
          <ac:chgData name="Alexandre Zanetti de Almeida" userId="129d4ce6-e715-4d33-b4c4-312f1656225b" providerId="ADAL" clId="{7AD9C9E4-D1AE-45AC-A839-3E72D235218A}" dt="2025-06-26T14:48:06.079" v="1842" actId="14100"/>
          <ac:spMkLst>
            <pc:docMk/>
            <pc:sldMk cId="316286447" sldId="2147470306"/>
            <ac:spMk id="2" creationId="{E639FFC7-C8FE-B04C-1F7F-6B700F83E176}"/>
          </ac:spMkLst>
        </pc:spChg>
        <pc:spChg chg="mod">
          <ac:chgData name="Alexandre Zanetti de Almeida" userId="129d4ce6-e715-4d33-b4c4-312f1656225b" providerId="ADAL" clId="{7AD9C9E4-D1AE-45AC-A839-3E72D235218A}" dt="2025-06-26T14:45:57.713" v="1723" actId="1037"/>
          <ac:spMkLst>
            <pc:docMk/>
            <pc:sldMk cId="316286447" sldId="2147470306"/>
            <ac:spMk id="15" creationId="{4492AF03-BD2E-726E-FDB9-396771EBB71E}"/>
          </ac:spMkLst>
        </pc:spChg>
        <pc:spChg chg="mod">
          <ac:chgData name="Alexandre Zanetti de Almeida" userId="129d4ce6-e715-4d33-b4c4-312f1656225b" providerId="ADAL" clId="{7AD9C9E4-D1AE-45AC-A839-3E72D235218A}" dt="2025-07-04T13:24:36.647" v="2090" actId="255"/>
          <ac:spMkLst>
            <pc:docMk/>
            <pc:sldMk cId="316286447" sldId="2147470306"/>
            <ac:spMk id="68" creationId="{A54E3DC3-C85B-106D-EFEC-18DE52F173C9}"/>
          </ac:spMkLst>
        </pc:spChg>
        <pc:spChg chg="mod">
          <ac:chgData name="Alexandre Zanetti de Almeida" userId="129d4ce6-e715-4d33-b4c4-312f1656225b" providerId="ADAL" clId="{7AD9C9E4-D1AE-45AC-A839-3E72D235218A}" dt="2025-06-26T14:42:45.002" v="1682" actId="6549"/>
          <ac:spMkLst>
            <pc:docMk/>
            <pc:sldMk cId="316286447" sldId="2147470306"/>
            <ac:spMk id="81" creationId="{CD053FD7-B453-B5BE-B961-62E50D25F286}"/>
          </ac:spMkLst>
        </pc:spChg>
        <pc:spChg chg="mod">
          <ac:chgData name="Alexandre Zanetti de Almeida" userId="129d4ce6-e715-4d33-b4c4-312f1656225b" providerId="ADAL" clId="{7AD9C9E4-D1AE-45AC-A839-3E72D235218A}" dt="2025-06-26T14:42:56.006" v="1684" actId="400"/>
          <ac:spMkLst>
            <pc:docMk/>
            <pc:sldMk cId="316286447" sldId="2147470306"/>
            <ac:spMk id="82" creationId="{3EA856FA-4CB2-2C61-F3C5-EE038ECA2000}"/>
          </ac:spMkLst>
        </pc:spChg>
        <pc:spChg chg="mod">
          <ac:chgData name="Alexandre Zanetti de Almeida" userId="129d4ce6-e715-4d33-b4c4-312f1656225b" providerId="ADAL" clId="{7AD9C9E4-D1AE-45AC-A839-3E72D235218A}" dt="2025-06-26T14:34:23.314" v="1537" actId="108"/>
          <ac:spMkLst>
            <pc:docMk/>
            <pc:sldMk cId="316286447" sldId="2147470306"/>
            <ac:spMk id="113" creationId="{E955DE37-6ECC-18A5-EA85-29F422D1AAC0}"/>
          </ac:spMkLst>
        </pc:spChg>
        <pc:spChg chg="mod">
          <ac:chgData name="Alexandre Zanetti de Almeida" userId="129d4ce6-e715-4d33-b4c4-312f1656225b" providerId="ADAL" clId="{7AD9C9E4-D1AE-45AC-A839-3E72D235218A}" dt="2025-06-26T14:34:16.983" v="1535"/>
          <ac:spMkLst>
            <pc:docMk/>
            <pc:sldMk cId="316286447" sldId="2147470306"/>
            <ac:spMk id="114" creationId="{F80D2D9E-92E7-26D4-952C-8B11A71498D3}"/>
          </ac:spMkLst>
        </pc:spChg>
        <pc:spChg chg="mod">
          <ac:chgData name="Alexandre Zanetti de Almeida" userId="129d4ce6-e715-4d33-b4c4-312f1656225b" providerId="ADAL" clId="{7AD9C9E4-D1AE-45AC-A839-3E72D235218A}" dt="2025-06-26T14:34:18.545" v="1536"/>
          <ac:spMkLst>
            <pc:docMk/>
            <pc:sldMk cId="316286447" sldId="2147470306"/>
            <ac:spMk id="115" creationId="{BAF7EEA7-947E-1479-43E9-2CDA17312C1F}"/>
          </ac:spMkLst>
        </pc:spChg>
        <pc:grpChg chg="add mod">
          <ac:chgData name="Alexandre Zanetti de Almeida" userId="129d4ce6-e715-4d33-b4c4-312f1656225b" providerId="ADAL" clId="{7AD9C9E4-D1AE-45AC-A839-3E72D235218A}" dt="2025-06-26T14:45:57.713" v="1723" actId="1037"/>
          <ac:grpSpMkLst>
            <pc:docMk/>
            <pc:sldMk cId="316286447" sldId="2147470306"/>
            <ac:grpSpMk id="14" creationId="{67D793E5-A78F-CC92-ADBD-B5E4C40DEC29}"/>
          </ac:grpSpMkLst>
        </pc:grpChg>
        <pc:picChg chg="mod">
          <ac:chgData name="Alexandre Zanetti de Almeida" userId="129d4ce6-e715-4d33-b4c4-312f1656225b" providerId="ADAL" clId="{7AD9C9E4-D1AE-45AC-A839-3E72D235218A}" dt="2025-06-26T14:45:57.713" v="1723" actId="1037"/>
          <ac:picMkLst>
            <pc:docMk/>
            <pc:sldMk cId="316286447" sldId="2147470306"/>
            <ac:picMk id="17" creationId="{4DF7B050-B255-12A4-74DA-B638D2689290}"/>
          </ac:picMkLst>
        </pc:picChg>
      </pc:sldChg>
      <pc:sldChg chg="addSp delSp modSp add mod">
        <pc:chgData name="Alexandre Zanetti de Almeida" userId="129d4ce6-e715-4d33-b4c4-312f1656225b" providerId="ADAL" clId="{7AD9C9E4-D1AE-45AC-A839-3E72D235218A}" dt="2025-07-18T20:09:40.113" v="2218" actId="478"/>
        <pc:sldMkLst>
          <pc:docMk/>
          <pc:sldMk cId="1124747304" sldId="2147470307"/>
        </pc:sldMkLst>
      </pc:sldChg>
      <pc:sldChg chg="modSp add mod">
        <pc:chgData name="Alexandre Zanetti de Almeida" userId="129d4ce6-e715-4d33-b4c4-312f1656225b" providerId="ADAL" clId="{7AD9C9E4-D1AE-45AC-A839-3E72D235218A}" dt="2025-08-12T12:00:08.466" v="2635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7AD9C9E4-D1AE-45AC-A839-3E72D235218A}" dt="2025-08-12T11:52:52.855" v="2505" actId="6549"/>
          <ac:spMkLst>
            <pc:docMk/>
            <pc:sldMk cId="3897802803" sldId="2147470308"/>
            <ac:spMk id="2" creationId="{3DFDCA80-9493-D01A-D2D3-DAC9C3D675CA}"/>
          </ac:spMkLst>
        </pc:spChg>
        <pc:spChg chg="mod">
          <ac:chgData name="Alexandre Zanetti de Almeida" userId="129d4ce6-e715-4d33-b4c4-312f1656225b" providerId="ADAL" clId="{7AD9C9E4-D1AE-45AC-A839-3E72D235218A}" dt="2025-07-03T11:30:07.287" v="1865" actId="20577"/>
          <ac:spMkLst>
            <pc:docMk/>
            <pc:sldMk cId="3897802803" sldId="2147470308"/>
            <ac:spMk id="49" creationId="{05CB1162-9506-8E5E-294D-E2CD9671F047}"/>
          </ac:spMkLst>
        </pc:spChg>
        <pc:spChg chg="mod">
          <ac:chgData name="Alexandre Zanetti de Almeida" userId="129d4ce6-e715-4d33-b4c4-312f1656225b" providerId="ADAL" clId="{7AD9C9E4-D1AE-45AC-A839-3E72D235218A}" dt="2025-07-03T11:30:10.636" v="1868" actId="20577"/>
          <ac:spMkLst>
            <pc:docMk/>
            <pc:sldMk cId="3897802803" sldId="2147470308"/>
            <ac:spMk id="50" creationId="{8F4DBAB0-EABF-8CDB-4BD8-96FA5C2C13E3}"/>
          </ac:spMkLst>
        </pc:spChg>
        <pc:spChg chg="mod">
          <ac:chgData name="Alexandre Zanetti de Almeida" userId="129d4ce6-e715-4d33-b4c4-312f1656225b" providerId="ADAL" clId="{7AD9C9E4-D1AE-45AC-A839-3E72D235218A}" dt="2025-07-03T11:30:13.094" v="1871" actId="20577"/>
          <ac:spMkLst>
            <pc:docMk/>
            <pc:sldMk cId="3897802803" sldId="2147470308"/>
            <ac:spMk id="51" creationId="{A6EEE73C-5E5B-E284-09D1-806D61D561EE}"/>
          </ac:spMkLst>
        </pc:spChg>
        <pc:spChg chg="mod">
          <ac:chgData name="Alexandre Zanetti de Almeida" userId="129d4ce6-e715-4d33-b4c4-312f1656225b" providerId="ADAL" clId="{7AD9C9E4-D1AE-45AC-A839-3E72D235218A}" dt="2025-08-12T11:51:19.394" v="2370" actId="108"/>
          <ac:spMkLst>
            <pc:docMk/>
            <pc:sldMk cId="3897802803" sldId="2147470308"/>
            <ac:spMk id="68" creationId="{8B325CD3-88E2-9088-28D6-1478F48897A3}"/>
          </ac:spMkLst>
        </pc:spChg>
        <pc:spChg chg="mod">
          <ac:chgData name="Alexandre Zanetti de Almeida" userId="129d4ce6-e715-4d33-b4c4-312f1656225b" providerId="ADAL" clId="{7AD9C9E4-D1AE-45AC-A839-3E72D235218A}" dt="2025-08-12T12:00:08.466" v="2635"/>
          <ac:spMkLst>
            <pc:docMk/>
            <pc:sldMk cId="3897802803" sldId="2147470308"/>
            <ac:spMk id="80" creationId="{238B8B74-5A49-7622-6D4D-93C3400061A0}"/>
          </ac:spMkLst>
        </pc:spChg>
        <pc:spChg chg="mod">
          <ac:chgData name="Alexandre Zanetti de Almeida" userId="129d4ce6-e715-4d33-b4c4-312f1656225b" providerId="ADAL" clId="{7AD9C9E4-D1AE-45AC-A839-3E72D235218A}" dt="2025-08-12T12:00:06.621" v="2634"/>
          <ac:spMkLst>
            <pc:docMk/>
            <pc:sldMk cId="3897802803" sldId="2147470308"/>
            <ac:spMk id="81" creationId="{E007F5D7-9624-9F30-5E8F-C88A74CAE6D6}"/>
          </ac:spMkLst>
        </pc:spChg>
        <pc:spChg chg="mod">
          <ac:chgData name="Alexandre Zanetti de Almeida" userId="129d4ce6-e715-4d33-b4c4-312f1656225b" providerId="ADAL" clId="{7AD9C9E4-D1AE-45AC-A839-3E72D235218A}" dt="2025-07-03T11:30:31.066" v="1889"/>
          <ac:spMkLst>
            <pc:docMk/>
            <pc:sldMk cId="3897802803" sldId="2147470308"/>
            <ac:spMk id="82" creationId="{29BE2849-A041-66F1-1301-38E73DC4980E}"/>
          </ac:spMkLst>
        </pc:spChg>
        <pc:spChg chg="mod">
          <ac:chgData name="Alexandre Zanetti de Almeida" userId="129d4ce6-e715-4d33-b4c4-312f1656225b" providerId="ADAL" clId="{7AD9C9E4-D1AE-45AC-A839-3E72D235218A}" dt="2025-07-03T11:30:32.762" v="1890"/>
          <ac:spMkLst>
            <pc:docMk/>
            <pc:sldMk cId="3897802803" sldId="2147470308"/>
            <ac:spMk id="113" creationId="{DF3CA3D1-A927-8DB4-2004-060C6112DFE6}"/>
          </ac:spMkLst>
        </pc:spChg>
        <pc:spChg chg="mod">
          <ac:chgData name="Alexandre Zanetti de Almeida" userId="129d4ce6-e715-4d33-b4c4-312f1656225b" providerId="ADAL" clId="{7AD9C9E4-D1AE-45AC-A839-3E72D235218A}" dt="2025-07-03T11:30:34.222" v="1891"/>
          <ac:spMkLst>
            <pc:docMk/>
            <pc:sldMk cId="3897802803" sldId="2147470308"/>
            <ac:spMk id="114" creationId="{D68A16EA-B69E-21A1-0236-4246FF11CB4B}"/>
          </ac:spMkLst>
        </pc:spChg>
        <pc:spChg chg="mod">
          <ac:chgData name="Alexandre Zanetti de Almeida" userId="129d4ce6-e715-4d33-b4c4-312f1656225b" providerId="ADAL" clId="{7AD9C9E4-D1AE-45AC-A839-3E72D235218A}" dt="2025-07-03T11:30:35.600" v="1892"/>
          <ac:spMkLst>
            <pc:docMk/>
            <pc:sldMk cId="3897802803" sldId="2147470308"/>
            <ac:spMk id="115" creationId="{FE9257EF-C904-4CBF-A353-863DCA70DD9F}"/>
          </ac:spMkLst>
        </pc:spChg>
        <pc:spChg chg="mod">
          <ac:chgData name="Alexandre Zanetti de Almeida" userId="129d4ce6-e715-4d33-b4c4-312f1656225b" providerId="ADAL" clId="{7AD9C9E4-D1AE-45AC-A839-3E72D235218A}" dt="2025-07-03T11:30:21.298" v="1880" actId="20577"/>
          <ac:spMkLst>
            <pc:docMk/>
            <pc:sldMk cId="3897802803" sldId="2147470308"/>
            <ac:spMk id="122" creationId="{55656841-F9AA-EA3F-4A25-3270B39D6BD7}"/>
          </ac:spMkLst>
        </pc:spChg>
        <pc:spChg chg="mod">
          <ac:chgData name="Alexandre Zanetti de Almeida" userId="129d4ce6-e715-4d33-b4c4-312f1656225b" providerId="ADAL" clId="{7AD9C9E4-D1AE-45AC-A839-3E72D235218A}" dt="2025-07-03T11:30:18.681" v="1877" actId="20577"/>
          <ac:spMkLst>
            <pc:docMk/>
            <pc:sldMk cId="3897802803" sldId="2147470308"/>
            <ac:spMk id="123" creationId="{9A2F870F-3B98-08B7-12BF-5CB7C78BDE4C}"/>
          </ac:spMkLst>
        </pc:spChg>
        <pc:spChg chg="mod">
          <ac:chgData name="Alexandre Zanetti de Almeida" userId="129d4ce6-e715-4d33-b4c4-312f1656225b" providerId="ADAL" clId="{7AD9C9E4-D1AE-45AC-A839-3E72D235218A}" dt="2025-07-03T11:30:15.580" v="1874" actId="20577"/>
          <ac:spMkLst>
            <pc:docMk/>
            <pc:sldMk cId="3897802803" sldId="2147470308"/>
            <ac:spMk id="124" creationId="{1B294359-1CA4-C326-4C5F-53393BB40A5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2:38.538" v="2697" actId="108"/>
        <pc:sldMkLst>
          <pc:docMk/>
          <pc:sldMk cId="3451687335" sldId="2147470309"/>
        </pc:sldMkLst>
        <pc:spChg chg="mod">
          <ac:chgData name="Alexandre Zanetti de Almeida" userId="129d4ce6-e715-4d33-b4c4-312f1656225b" providerId="ADAL" clId="{7AD9C9E4-D1AE-45AC-A839-3E72D235218A}" dt="2025-08-12T12:09:09.724" v="2684" actId="6549"/>
          <ac:spMkLst>
            <pc:docMk/>
            <pc:sldMk cId="3451687335" sldId="2147470309"/>
            <ac:spMk id="2" creationId="{AD297642-77C2-D436-A144-F05145C6A2B9}"/>
          </ac:spMkLst>
        </pc:spChg>
        <pc:spChg chg="add del">
          <ac:chgData name="Alexandre Zanetti de Almeida" userId="129d4ce6-e715-4d33-b4c4-312f1656225b" providerId="ADAL" clId="{7AD9C9E4-D1AE-45AC-A839-3E72D235218A}" dt="2025-07-03T11:30:46.744" v="1895" actId="478"/>
          <ac:spMkLst>
            <pc:docMk/>
            <pc:sldMk cId="3451687335" sldId="2147470309"/>
            <ac:spMk id="5" creationId="{244F3088-C63F-211C-44D8-E616EC8FD1FC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47" creationId="{9225E46A-2AED-ABAE-C901-014482A0FE53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4" creationId="{ADCFA736-231A-4F3F-22F7-154B7AA0E270}"/>
          </ac:spMkLst>
        </pc:spChg>
        <pc:spChg chg="mod">
          <ac:chgData name="Alexandre Zanetti de Almeida" userId="129d4ce6-e715-4d33-b4c4-312f1656225b" providerId="ADAL" clId="{7AD9C9E4-D1AE-45AC-A839-3E72D235218A}" dt="2025-08-12T12:01:24.532" v="2653" actId="20577"/>
          <ac:spMkLst>
            <pc:docMk/>
            <pc:sldMk cId="3451687335" sldId="2147470309"/>
            <ac:spMk id="55" creationId="{A4EA4945-FB87-B729-CBE1-4352B886016F}"/>
          </ac:spMkLst>
        </pc:spChg>
        <pc:spChg chg="mod">
          <ac:chgData name="Alexandre Zanetti de Almeida" userId="129d4ce6-e715-4d33-b4c4-312f1656225b" providerId="ADAL" clId="{7AD9C9E4-D1AE-45AC-A839-3E72D235218A}" dt="2025-08-12T12:00:22.611" v="2636"/>
          <ac:spMkLst>
            <pc:docMk/>
            <pc:sldMk cId="3451687335" sldId="2147470309"/>
            <ac:spMk id="56" creationId="{42FE97CC-C51D-803F-71C0-DE3CFFF28E78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59" creationId="{2B102E5F-908E-48CF-C717-337004FEE675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0" creationId="{D4E2A489-248B-A301-9579-45009BFA9D4F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1" creationId="{759E8DF1-F28D-892F-8B52-384BCC55E5A1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64" creationId="{19BB059A-DCC8-6CB3-D1C1-DB6348BF237B}"/>
          </ac:spMkLst>
        </pc:spChg>
        <pc:spChg chg="mod">
          <ac:chgData name="Alexandre Zanetti de Almeida" userId="129d4ce6-e715-4d33-b4c4-312f1656225b" providerId="ADAL" clId="{7AD9C9E4-D1AE-45AC-A839-3E72D235218A}" dt="2025-08-12T12:12:38.538" v="2697" actId="108"/>
          <ac:spMkLst>
            <pc:docMk/>
            <pc:sldMk cId="3451687335" sldId="2147470309"/>
            <ac:spMk id="68" creationId="{473B80D9-67C3-6246-510D-6AB140805252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0" creationId="{BA334031-0A27-F21B-C3F2-FC1927C276FE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77" creationId="{4336848F-C388-7AC0-8CB9-680A44FEABFB}"/>
          </ac:spMkLst>
        </pc:spChg>
        <pc:spChg chg="mod">
          <ac:chgData name="Alexandre Zanetti de Almeida" userId="129d4ce6-e715-4d33-b4c4-312f1656225b" providerId="ADAL" clId="{7AD9C9E4-D1AE-45AC-A839-3E72D235218A}" dt="2025-07-03T11:30:49.839" v="1897"/>
          <ac:spMkLst>
            <pc:docMk/>
            <pc:sldMk cId="3451687335" sldId="2147470309"/>
            <ac:spMk id="84" creationId="{5B3204F6-5289-04E5-D972-196B58CFBA3C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3:01.881" v="2700" actId="108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7AD9C9E4-D1AE-45AC-A839-3E72D235218A}" dt="2025-08-12T11:53:57.360" v="2521"/>
          <ac:spMkLst>
            <pc:docMk/>
            <pc:sldMk cId="2538063378" sldId="2147470310"/>
            <ac:spMk id="2" creationId="{BDB8AFA2-9173-6360-9236-8BB749771129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18" creationId="{926276A5-D13B-CC1A-8378-4815A1FC3F66}"/>
          </ac:spMkLst>
        </pc:spChg>
        <pc:spChg chg="mod">
          <ac:chgData name="Alexandre Zanetti de Almeida" userId="129d4ce6-e715-4d33-b4c4-312f1656225b" providerId="ADAL" clId="{7AD9C9E4-D1AE-45AC-A839-3E72D235218A}" dt="2025-08-12T12:01:44.985" v="2654"/>
          <ac:spMkLst>
            <pc:docMk/>
            <pc:sldMk cId="2538063378" sldId="2147470310"/>
            <ac:spMk id="19" creationId="{672FE395-9A45-CED2-D933-75DE0C176C90}"/>
          </ac:spMkLst>
        </pc:spChg>
        <pc:spChg chg="mod">
          <ac:chgData name="Alexandre Zanetti de Almeida" userId="129d4ce6-e715-4d33-b4c4-312f1656225b" providerId="ADAL" clId="{7AD9C9E4-D1AE-45AC-A839-3E72D235218A}" dt="2025-08-12T12:01:02.518" v="2646" actId="6549"/>
          <ac:spMkLst>
            <pc:docMk/>
            <pc:sldMk cId="2538063378" sldId="2147470310"/>
            <ac:spMk id="20" creationId="{1CB3446A-C275-01ED-4A0E-471FBF6AFBD3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5" creationId="{21B132F9-7475-86AC-259F-3F2FCE79857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26" creationId="{17294704-483A-8F95-3B78-2304D4DB74CC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2" creationId="{E9EAAD27-F5B3-CC2D-4666-E75582706A55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5" creationId="{D3A59BC1-5111-11C6-AA4F-D70E9A6454B6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6" creationId="{0208129C-D4E5-CF57-076F-A768C104F2B4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7" creationId="{702D44AA-226D-E948-FB70-20A461DEA787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39" creationId="{DB0203E7-9CDA-3785-C89A-63C88BFD5BBE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0" creationId="{1E021280-2C14-A194-4EC8-A33B5A8A253F}"/>
          </ac:spMkLst>
        </pc:spChg>
        <pc:spChg chg="mod">
          <ac:chgData name="Alexandre Zanetti de Almeida" userId="129d4ce6-e715-4d33-b4c4-312f1656225b" providerId="ADAL" clId="{7AD9C9E4-D1AE-45AC-A839-3E72D235218A}" dt="2025-07-03T11:30:55.408" v="1899"/>
          <ac:spMkLst>
            <pc:docMk/>
            <pc:sldMk cId="2538063378" sldId="2147470310"/>
            <ac:spMk id="45" creationId="{A4E8A768-1D09-3FAA-EC26-37C47ECB8E89}"/>
          </ac:spMkLst>
        </pc:spChg>
        <pc:spChg chg="mod">
          <ac:chgData name="Alexandre Zanetti de Almeida" userId="129d4ce6-e715-4d33-b4c4-312f1656225b" providerId="ADAL" clId="{7AD9C9E4-D1AE-45AC-A839-3E72D235218A}" dt="2025-08-12T12:13:01.881" v="2700" actId="108"/>
          <ac:spMkLst>
            <pc:docMk/>
            <pc:sldMk cId="2538063378" sldId="2147470310"/>
            <ac:spMk id="68" creationId="{75A950D8-9E35-2477-3D27-24CFD6CB8523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3:32.453" v="2706" actId="108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7AD9C9E4-D1AE-45AC-A839-3E72D235218A}" dt="2025-08-12T12:03:08.859" v="2676" actId="6549"/>
          <ac:spMkLst>
            <pc:docMk/>
            <pc:sldMk cId="4084511335" sldId="2147470311"/>
            <ac:spMk id="2" creationId="{7534041D-0EE9-2E08-37B1-449B15E208B9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5" creationId="{B5CEF9E3-5534-6C6C-A062-168A1496EAD1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18" creationId="{95CAE237-E098-2204-D33A-3B4906EFF7EA}"/>
          </ac:spMkLst>
        </pc:spChg>
        <pc:spChg chg="mod">
          <ac:chgData name="Alexandre Zanetti de Almeida" userId="129d4ce6-e715-4d33-b4c4-312f1656225b" providerId="ADAL" clId="{7AD9C9E4-D1AE-45AC-A839-3E72D235218A}" dt="2025-08-12T12:10:29.037" v="2687"/>
          <ac:spMkLst>
            <pc:docMk/>
            <pc:sldMk cId="4084511335" sldId="2147470311"/>
            <ac:spMk id="19" creationId="{CD6689CC-C971-5649-EA3E-E505D86EF02D}"/>
          </ac:spMkLst>
        </pc:spChg>
        <pc:spChg chg="mod">
          <ac:chgData name="Alexandre Zanetti de Almeida" userId="129d4ce6-e715-4d33-b4c4-312f1656225b" providerId="ADAL" clId="{7AD9C9E4-D1AE-45AC-A839-3E72D235218A}" dt="2025-08-12T12:02:53.646" v="2674" actId="108"/>
          <ac:spMkLst>
            <pc:docMk/>
            <pc:sldMk cId="4084511335" sldId="2147470311"/>
            <ac:spMk id="20" creationId="{B6B5A268-14CD-DB5E-F783-F0443CEDD956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4" creationId="{3C4AD673-F80A-D06D-8672-EAC7A8C112E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26" creationId="{A5185382-1CF7-8015-29AA-6C05968A191D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4" creationId="{F9D8A3A1-3499-FA18-5A0D-9BE01564DEB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6" creationId="{A457287F-4463-7DB0-E47D-4D10191DFC93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39" creationId="{A5650CA6-6C57-4C14-376B-2AAF0B80E228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0" creationId="{C2026915-4C3B-30AE-6FE6-37AAABE6C430}"/>
          </ac:spMkLst>
        </pc:spChg>
        <pc:spChg chg="mod">
          <ac:chgData name="Alexandre Zanetti de Almeida" userId="129d4ce6-e715-4d33-b4c4-312f1656225b" providerId="ADAL" clId="{7AD9C9E4-D1AE-45AC-A839-3E72D235218A}" dt="2025-07-03T11:31:00.037" v="1901"/>
          <ac:spMkLst>
            <pc:docMk/>
            <pc:sldMk cId="4084511335" sldId="2147470311"/>
            <ac:spMk id="45" creationId="{7EC1D4F8-D415-2AF1-C6D8-6692A545FCCD}"/>
          </ac:spMkLst>
        </pc:spChg>
        <pc:spChg chg="mod">
          <ac:chgData name="Alexandre Zanetti de Almeida" userId="129d4ce6-e715-4d33-b4c4-312f1656225b" providerId="ADAL" clId="{7AD9C9E4-D1AE-45AC-A839-3E72D235218A}" dt="2025-08-12T12:13:32.453" v="2706" actId="108"/>
          <ac:spMkLst>
            <pc:docMk/>
            <pc:sldMk cId="4084511335" sldId="2147470311"/>
            <ac:spMk id="68" creationId="{33240CD6-2B10-C098-2A7F-75BB361D301F}"/>
          </ac:spMkLst>
        </pc:spChg>
      </pc:sldChg>
      <pc:sldChg chg="addSp delSp modSp add mod">
        <pc:chgData name="Alexandre Zanetti de Almeida" userId="129d4ce6-e715-4d33-b4c4-312f1656225b" providerId="ADAL" clId="{7AD9C9E4-D1AE-45AC-A839-3E72D235218A}" dt="2025-08-12T12:14:29.701" v="2723" actId="108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7AD9C9E4-D1AE-45AC-A839-3E72D235218A}" dt="2025-08-12T12:12:00.001" v="2694" actId="6549"/>
          <ac:spMkLst>
            <pc:docMk/>
            <pc:sldMk cId="1954888133" sldId="2147470312"/>
            <ac:spMk id="2" creationId="{5C320DF1-CEEC-6597-903D-66F6996CC06B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15" creationId="{2E5CFB6A-5C45-6A14-9024-A67ED1075F92}"/>
          </ac:spMkLst>
        </pc:spChg>
        <pc:spChg chg="mod">
          <ac:chgData name="Alexandre Zanetti de Almeida" userId="129d4ce6-e715-4d33-b4c4-312f1656225b" providerId="ADAL" clId="{7AD9C9E4-D1AE-45AC-A839-3E72D235218A}" dt="2025-08-12T12:01:55.243" v="2657"/>
          <ac:spMkLst>
            <pc:docMk/>
            <pc:sldMk cId="1954888133" sldId="2147470312"/>
            <ac:spMk id="19" creationId="{468E3393-648F-77F6-8944-5C57FAA2916A}"/>
          </ac:spMkLst>
        </pc:spChg>
        <pc:spChg chg="mod">
          <ac:chgData name="Alexandre Zanetti de Almeida" userId="129d4ce6-e715-4d33-b4c4-312f1656225b" providerId="ADAL" clId="{7AD9C9E4-D1AE-45AC-A839-3E72D235218A}" dt="2025-08-12T12:11:48.422" v="2692"/>
          <ac:spMkLst>
            <pc:docMk/>
            <pc:sldMk cId="1954888133" sldId="2147470312"/>
            <ac:spMk id="20" creationId="{A36BCE06-A099-3332-3A4E-04313840D705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3" creationId="{C0B98171-897E-5F4D-A3A6-771630651977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25" creationId="{E3B23EC7-4462-F003-E2CB-05C5A934F2C8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2" creationId="{47545403-9120-06C2-0979-7A7898F6CDBC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5" creationId="{BBC804A9-7266-8E16-EA24-075AB5A19016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6" creationId="{2F26743A-6CDC-05E2-78DF-FFD3C4676BB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39" creationId="{CDD89241-EDBA-038B-EBAF-6AE24FC98394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0" creationId="{AE693164-AB41-47A9-9AEC-834985778B79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2" creationId="{342D7B49-94AE-89E4-A08B-E431C2A21E43}"/>
          </ac:spMkLst>
        </pc:spChg>
        <pc:spChg chg="mod">
          <ac:chgData name="Alexandre Zanetti de Almeida" userId="129d4ce6-e715-4d33-b4c4-312f1656225b" providerId="ADAL" clId="{7AD9C9E4-D1AE-45AC-A839-3E72D235218A}" dt="2025-07-03T11:31:05.472" v="1903"/>
          <ac:spMkLst>
            <pc:docMk/>
            <pc:sldMk cId="1954888133" sldId="2147470312"/>
            <ac:spMk id="45" creationId="{D11439B6-9503-3D97-6C27-AED0025EB2C9}"/>
          </ac:spMkLst>
        </pc:spChg>
        <pc:spChg chg="mod">
          <ac:chgData name="Alexandre Zanetti de Almeida" userId="129d4ce6-e715-4d33-b4c4-312f1656225b" providerId="ADAL" clId="{7AD9C9E4-D1AE-45AC-A839-3E72D235218A}" dt="2025-08-12T12:14:29.701" v="2723" actId="108"/>
          <ac:spMkLst>
            <pc:docMk/>
            <pc:sldMk cId="1954888133" sldId="2147470312"/>
            <ac:spMk id="68" creationId="{CB9DD5C0-FD83-6E13-DA3F-9EB5D1215197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8-12T12:14:34.185" v="2724" actId="108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7AD9C9E4-D1AE-45AC-A839-3E72D235218A}" dt="2025-08-12T12:11:29.224" v="2691" actId="6549"/>
          <ac:spMkLst>
            <pc:docMk/>
            <pc:sldMk cId="2426779336" sldId="2147470313"/>
            <ac:spMk id="2" creationId="{E5A6BF1B-5561-8791-5479-F76D8E484DEF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0" creationId="{6E482327-75A8-92AB-6344-AB62D6A3F650}"/>
          </ac:spMkLst>
        </pc:spChg>
        <pc:spChg chg="mod">
          <ac:chgData name="Alexandre Zanetti de Almeida" userId="129d4ce6-e715-4d33-b4c4-312f1656225b" providerId="ADAL" clId="{7AD9C9E4-D1AE-45AC-A839-3E72D235218A}" dt="2025-08-12T12:01:53.197" v="2656"/>
          <ac:spMkLst>
            <pc:docMk/>
            <pc:sldMk cId="2426779336" sldId="2147470313"/>
            <ac:spMk id="21" creationId="{ED82B7A9-65A0-DC3C-2284-96E2381B9831}"/>
          </ac:spMkLst>
        </pc:spChg>
        <pc:spChg chg="mod">
          <ac:chgData name="Alexandre Zanetti de Almeida" userId="129d4ce6-e715-4d33-b4c4-312f1656225b" providerId="ADAL" clId="{7AD9C9E4-D1AE-45AC-A839-3E72D235218A}" dt="2025-08-12T12:11:14.368" v="2689"/>
          <ac:spMkLst>
            <pc:docMk/>
            <pc:sldMk cId="2426779336" sldId="2147470313"/>
            <ac:spMk id="22" creationId="{872221CC-86B7-B187-3DE0-6EE1620D3FF0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7" creationId="{526979F4-A11F-7641-1646-0976ADAAEF82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29" creationId="{7ADE3D72-FE72-1F94-CDE7-E38F8B4F02CD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0" creationId="{ACA9F5F7-74AB-C8F6-F7E2-62FD5262C92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7" creationId="{FD068B9A-8122-7718-B5AE-D42331F00F17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8" creationId="{46A376FF-6711-2C1C-179D-C897C7DA810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39" creationId="{F832768D-FE31-971F-2372-CBB4908EA3C1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6" creationId="{CB739F01-AB81-DFE8-2E5E-0B2F33B9AAB6}"/>
          </ac:spMkLst>
        </pc:spChg>
        <pc:spChg chg="mod">
          <ac:chgData name="Alexandre Zanetti de Almeida" userId="129d4ce6-e715-4d33-b4c4-312f1656225b" providerId="ADAL" clId="{7AD9C9E4-D1AE-45AC-A839-3E72D235218A}" dt="2025-07-03T11:31:10.336" v="1905"/>
          <ac:spMkLst>
            <pc:docMk/>
            <pc:sldMk cId="2426779336" sldId="2147470313"/>
            <ac:spMk id="47" creationId="{75D87E90-6BAF-67F4-0424-76F42CC41F7F}"/>
          </ac:spMkLst>
        </pc:spChg>
        <pc:spChg chg="mod">
          <ac:chgData name="Alexandre Zanetti de Almeida" userId="129d4ce6-e715-4d33-b4c4-312f1656225b" providerId="ADAL" clId="{7AD9C9E4-D1AE-45AC-A839-3E72D235218A}" dt="2025-08-12T12:14:34.185" v="2724" actId="108"/>
          <ac:spMkLst>
            <pc:docMk/>
            <pc:sldMk cId="2426779336" sldId="2147470313"/>
            <ac:spMk id="68" creationId="{3BCF68D6-1E13-16AE-4669-BC590EB9C23C}"/>
          </ac:spMkLst>
        </pc:spChg>
      </pc:sldChg>
      <pc:sldChg chg="addSp delSp modSp add mod ord">
        <pc:chgData name="Alexandre Zanetti de Almeida" userId="129d4ce6-e715-4d33-b4c4-312f1656225b" providerId="ADAL" clId="{7AD9C9E4-D1AE-45AC-A839-3E72D235218A}" dt="2025-08-12T12:14:26.263" v="2722" actId="108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7AD9C9E4-D1AE-45AC-A839-3E72D235218A}" dt="2025-07-24T11:05:15.955" v="2358" actId="108"/>
          <ac:spMkLst>
            <pc:docMk/>
            <pc:sldMk cId="1764769990" sldId="2147470314"/>
            <ac:spMk id="2" creationId="{84B2F2C4-8388-EE3F-5EAC-EEEE437649D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18" creationId="{E3FA4D2D-9E84-4ABE-45D7-35AC482D3E5C}"/>
          </ac:spMkLst>
        </pc:spChg>
        <pc:spChg chg="mod">
          <ac:chgData name="Alexandre Zanetti de Almeida" userId="129d4ce6-e715-4d33-b4c4-312f1656225b" providerId="ADAL" clId="{7AD9C9E4-D1AE-45AC-A839-3E72D235218A}" dt="2025-08-12T12:01:58.232" v="2658"/>
          <ac:spMkLst>
            <pc:docMk/>
            <pc:sldMk cId="1764769990" sldId="2147470314"/>
            <ac:spMk id="21" creationId="{84F0C2D4-2554-5F23-AE07-3D808FA29F8E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2" creationId="{8364E25F-2261-38F0-5F3F-DDEA618DE78B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25" creationId="{A52D7AD2-1DF1-B4CC-E25C-CD81DB680F3F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7" creationId="{7D1C3C31-530D-3651-D21C-BE0C85F32E53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8" creationId="{60DCC049-7794-2B45-14D6-908AC74C3C90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39" creationId="{2EF4B4D7-ED66-FD46-C9AE-5E0FC5299966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1" creationId="{CEAA1A69-3339-1F47-42F6-B27242F3981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4" creationId="{14EA6804-B707-67E0-0FAA-5ADDCB2ABDA2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5" creationId="{5356C359-FE76-786F-E418-5C91A778E82C}"/>
          </ac:spMkLst>
        </pc:spChg>
        <pc:spChg chg="mod">
          <ac:chgData name="Alexandre Zanetti de Almeida" userId="129d4ce6-e715-4d33-b4c4-312f1656225b" providerId="ADAL" clId="{7AD9C9E4-D1AE-45AC-A839-3E72D235218A}" dt="2025-07-03T11:31:15.585" v="1907"/>
          <ac:spMkLst>
            <pc:docMk/>
            <pc:sldMk cId="1764769990" sldId="2147470314"/>
            <ac:spMk id="47" creationId="{9B50C010-86AA-7C92-ACC7-38B6E2413A53}"/>
          </ac:spMkLst>
        </pc:spChg>
        <pc:spChg chg="mod">
          <ac:chgData name="Alexandre Zanetti de Almeida" userId="129d4ce6-e715-4d33-b4c4-312f1656225b" providerId="ADAL" clId="{7AD9C9E4-D1AE-45AC-A839-3E72D235218A}" dt="2025-08-12T12:14:26.263" v="2722" actId="108"/>
          <ac:spMkLst>
            <pc:docMk/>
            <pc:sldMk cId="1764769990" sldId="2147470314"/>
            <ac:spMk id="68" creationId="{B4B4211E-7542-804F-6A2C-88ECB3514525}"/>
          </ac:spMkLst>
        </pc:spChg>
      </pc:sldChg>
      <pc:sldChg chg="modSp add mod">
        <pc:chgData name="Alexandre Zanetti de Almeida" userId="129d4ce6-e715-4d33-b4c4-312f1656225b" providerId="ADAL" clId="{7AD9C9E4-D1AE-45AC-A839-3E72D235218A}" dt="2025-07-10T14:49:40.390" v="2114" actId="20577"/>
        <pc:sldMkLst>
          <pc:docMk/>
          <pc:sldMk cId="231326526" sldId="2147470315"/>
        </pc:sldMkLst>
        <pc:spChg chg="mod">
          <ac:chgData name="Alexandre Zanetti de Almeida" userId="129d4ce6-e715-4d33-b4c4-312f1656225b" providerId="ADAL" clId="{7AD9C9E4-D1AE-45AC-A839-3E72D235218A}" dt="2025-07-10T14:49:40.390" v="2114" actId="20577"/>
          <ac:spMkLst>
            <pc:docMk/>
            <pc:sldMk cId="231326526" sldId="2147470315"/>
            <ac:spMk id="7" creationId="{A6ABC054-10AC-F06D-73CB-FB5E77CFBD07}"/>
          </ac:spMkLst>
        </pc:spChg>
      </pc:sldChg>
      <pc:sldChg chg="addSp delSp modSp new mod">
        <pc:chgData name="Alexandre Zanetti de Almeida" userId="129d4ce6-e715-4d33-b4c4-312f1656225b" providerId="ADAL" clId="{7AD9C9E4-D1AE-45AC-A839-3E72D235218A}" dt="2025-07-24T10:57:45.606" v="2243"/>
        <pc:sldMkLst>
          <pc:docMk/>
          <pc:sldMk cId="3602678974" sldId="2147470316"/>
        </pc:sldMkLst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5" creationId="{D44D1711-EF6C-1473-EA7D-FA7C74D50197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6" creationId="{B77DADFF-2A08-7125-5BA0-67277451B392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8" creationId="{C5683391-0009-2353-775A-EED32DFBB3BB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9" creationId="{FE60577F-A183-C54B-51CC-7E25CFD538E3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0" creationId="{685BAE6D-667D-CAEA-0853-1CA05D5766DF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1" creationId="{EF6613C4-6B4C-CCBC-FD65-223DE6822899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3" creationId="{892529CA-27D8-A01E-474C-4C665666FAC3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14" creationId="{B67B528C-5393-EF87-59CC-CD4DE6878052}"/>
          </ac:spMkLst>
        </pc:spChg>
        <pc:spChg chg="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21" creationId="{67FB0466-3445-669D-23B6-C93E70010F3F}"/>
          </ac:spMkLst>
        </pc:spChg>
        <pc:spChg chg="add mod">
          <ac:chgData name="Alexandre Zanetti de Almeida" userId="129d4ce6-e715-4d33-b4c4-312f1656225b" providerId="ADAL" clId="{7AD9C9E4-D1AE-45AC-A839-3E72D235218A}" dt="2025-07-24T10:57:45.606" v="2243"/>
          <ac:spMkLst>
            <pc:docMk/>
            <pc:sldMk cId="3602678974" sldId="2147470316"/>
            <ac:spMk id="23" creationId="{D080F8CD-30B7-2FDD-A0F4-0CA8F3E1E7B5}"/>
          </ac:spMkLst>
        </pc:spChg>
      </pc:sldChg>
    </pc:docChg>
  </pc:docChgLst>
  <pc:docChgLst>
    <pc:chgData name="Alexandre Zanetti de Almeida" userId="129d4ce6-e715-4d33-b4c4-312f1656225b" providerId="ADAL" clId="{23DAED39-1F66-4F0B-AC83-5EC3D850C707}"/>
    <pc:docChg chg="undo custSel addSld delSld modSld modSection">
      <pc:chgData name="Alexandre Zanetti de Almeida" userId="129d4ce6-e715-4d33-b4c4-312f1656225b" providerId="ADAL" clId="{23DAED39-1F66-4F0B-AC83-5EC3D850C707}" dt="2025-05-13T13:10:38.965" v="355" actId="20577"/>
      <pc:docMkLst>
        <pc:docMk/>
      </pc:docMkLst>
      <pc:sldChg chg="modSp mod">
        <pc:chgData name="Alexandre Zanetti de Almeida" userId="129d4ce6-e715-4d33-b4c4-312f1656225b" providerId="ADAL" clId="{23DAED39-1F66-4F0B-AC83-5EC3D850C707}" dt="2025-05-13T11:22:37.800" v="14" actId="20577"/>
        <pc:sldMkLst>
          <pc:docMk/>
          <pc:sldMk cId="3565198220" sldId="257"/>
        </pc:sldMkLst>
      </pc:sldChg>
      <pc:sldChg chg="del">
        <pc:chgData name="Alexandre Zanetti de Almeida" userId="129d4ce6-e715-4d33-b4c4-312f1656225b" providerId="ADAL" clId="{23DAED39-1F66-4F0B-AC83-5EC3D850C707}" dt="2025-05-13T11:32:38.170" v="305" actId="47"/>
        <pc:sldMkLst>
          <pc:docMk/>
          <pc:sldMk cId="3206762266" sldId="2147470243"/>
        </pc:sldMkLst>
      </pc:sldChg>
      <pc:sldChg chg="del">
        <pc:chgData name="Alexandre Zanetti de Almeida" userId="129d4ce6-e715-4d33-b4c4-312f1656225b" providerId="ADAL" clId="{23DAED39-1F66-4F0B-AC83-5EC3D850C707}" dt="2025-05-13T11:32:39.142" v="306" actId="47"/>
        <pc:sldMkLst>
          <pc:docMk/>
          <pc:sldMk cId="833500908" sldId="2147470259"/>
        </pc:sldMkLst>
      </pc:sldChg>
      <pc:sldChg chg="del">
        <pc:chgData name="Alexandre Zanetti de Almeida" userId="129d4ce6-e715-4d33-b4c4-312f1656225b" providerId="ADAL" clId="{23DAED39-1F66-4F0B-AC83-5EC3D850C707}" dt="2025-05-13T11:32:39.819" v="307" actId="47"/>
        <pc:sldMkLst>
          <pc:docMk/>
          <pc:sldMk cId="366406553" sldId="2147470263"/>
        </pc:sldMkLst>
      </pc:sldChg>
      <pc:sldChg chg="modSp mod modShow">
        <pc:chgData name="Alexandre Zanetti de Almeida" userId="129d4ce6-e715-4d33-b4c4-312f1656225b" providerId="ADAL" clId="{23DAED39-1F66-4F0B-AC83-5EC3D850C707}" dt="2025-05-13T11:23:35.134" v="33" actId="6549"/>
        <pc:sldMkLst>
          <pc:docMk/>
          <pc:sldMk cId="932104382" sldId="2147470265"/>
        </pc:sldMkLst>
      </pc:sldChg>
      <pc:sldChg chg="mod modShow">
        <pc:chgData name="Alexandre Zanetti de Almeida" userId="129d4ce6-e715-4d33-b4c4-312f1656225b" providerId="ADAL" clId="{23DAED39-1F66-4F0B-AC83-5EC3D850C707}" dt="2025-05-13T11:27:09.503" v="111" actId="729"/>
        <pc:sldMkLst>
          <pc:docMk/>
          <pc:sldMk cId="1140124133" sldId="2147470274"/>
        </pc:sldMkLst>
      </pc:sldChg>
      <pc:sldChg chg="modSp 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1056299241" sldId="2147470279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4079523240" sldId="2147470280"/>
        </pc:sldMkLst>
      </pc:sldChg>
      <pc:sldChg chg="mod modShow">
        <pc:chgData name="Alexandre Zanetti de Almeida" userId="129d4ce6-e715-4d33-b4c4-312f1656225b" providerId="ADAL" clId="{23DAED39-1F66-4F0B-AC83-5EC3D850C707}" dt="2025-05-13T11:29:28.037" v="163" actId="729"/>
        <pc:sldMkLst>
          <pc:docMk/>
          <pc:sldMk cId="98271423" sldId="2147470281"/>
        </pc:sldMkLst>
      </pc:sldChg>
      <pc:sldChg chg="modSp add mod">
        <pc:chgData name="Alexandre Zanetti de Almeida" userId="129d4ce6-e715-4d33-b4c4-312f1656225b" providerId="ADAL" clId="{23DAED39-1F66-4F0B-AC83-5EC3D850C707}" dt="2025-05-13T11:24:25.251" v="61" actId="108"/>
        <pc:sldMkLst>
          <pc:docMk/>
          <pc:sldMk cId="2817282654" sldId="2147470283"/>
        </pc:sldMkLst>
      </pc:sldChg>
      <pc:sldChg chg="modSp add mod">
        <pc:chgData name="Alexandre Zanetti de Almeida" userId="129d4ce6-e715-4d33-b4c4-312f1656225b" providerId="ADAL" clId="{23DAED39-1F66-4F0B-AC83-5EC3D850C707}" dt="2025-05-13T11:31:34.892" v="282" actId="13926"/>
        <pc:sldMkLst>
          <pc:docMk/>
          <pc:sldMk cId="57506138" sldId="2147470284"/>
        </pc:sldMkLst>
      </pc:sldChg>
      <pc:sldChg chg="modSp add mod">
        <pc:chgData name="Alexandre Zanetti de Almeida" userId="129d4ce6-e715-4d33-b4c4-312f1656225b" providerId="ADAL" clId="{23DAED39-1F66-4F0B-AC83-5EC3D850C707}" dt="2025-05-13T13:10:38.965" v="355" actId="20577"/>
        <pc:sldMkLst>
          <pc:docMk/>
          <pc:sldMk cId="481838124" sldId="2147470285"/>
        </pc:sldMkLst>
      </pc:sldChg>
      <pc:sldChg chg="modSp add mod">
        <pc:chgData name="Alexandre Zanetti de Almeida" userId="129d4ce6-e715-4d33-b4c4-312f1656225b" providerId="ADAL" clId="{23DAED39-1F66-4F0B-AC83-5EC3D850C707}" dt="2025-05-13T11:28:34.904" v="143" actId="20577"/>
        <pc:sldMkLst>
          <pc:docMk/>
          <pc:sldMk cId="1173113283" sldId="2147470286"/>
        </pc:sldMkLst>
      </pc:sldChg>
      <pc:sldChg chg="modSp add mod">
        <pc:chgData name="Alexandre Zanetti de Almeida" userId="129d4ce6-e715-4d33-b4c4-312f1656225b" providerId="ADAL" clId="{23DAED39-1F66-4F0B-AC83-5EC3D850C707}" dt="2025-05-13T11:32:18.908" v="304" actId="20577"/>
        <pc:sldMkLst>
          <pc:docMk/>
          <pc:sldMk cId="20244889" sldId="2147470287"/>
        </pc:sldMkLst>
      </pc:sldChg>
      <pc:sldChg chg="addSp delSp modSp add mod">
        <pc:chgData name="Alexandre Zanetti de Almeida" userId="129d4ce6-e715-4d33-b4c4-312f1656225b" providerId="ADAL" clId="{23DAED39-1F66-4F0B-AC83-5EC3D850C707}" dt="2025-05-13T12:56:33.546" v="338" actId="13926"/>
        <pc:sldMkLst>
          <pc:docMk/>
          <pc:sldMk cId="4066329794" sldId="2147470288"/>
        </pc:sldMkLst>
      </pc:sldChg>
    </pc:docChg>
  </pc:docChgLst>
  <pc:docChgLst>
    <pc:chgData name="Alexandre Zanetti de Almeida" userId="129d4ce6-e715-4d33-b4c4-312f1656225b" providerId="ADAL" clId="{C563E171-CFEB-4F4D-8699-6193E6ECFF79}"/>
    <pc:docChg chg="custSel modSld">
      <pc:chgData name="Alexandre Zanetti de Almeida" userId="129d4ce6-e715-4d33-b4c4-312f1656225b" providerId="ADAL" clId="{C563E171-CFEB-4F4D-8699-6193E6ECFF79}" dt="2025-08-19T12:32:41.256" v="90" actId="20577"/>
      <pc:docMkLst>
        <pc:docMk/>
      </pc:docMkLst>
      <pc:sldChg chg="modSp mod">
        <pc:chgData name="Alexandre Zanetti de Almeida" userId="129d4ce6-e715-4d33-b4c4-312f1656225b" providerId="ADAL" clId="{C563E171-CFEB-4F4D-8699-6193E6ECFF79}" dt="2025-08-19T12:23:57.907" v="5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C563E171-CFEB-4F4D-8699-6193E6ECFF79}" dt="2025-08-19T12:23:57.907" v="5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modSp mod">
        <pc:chgData name="Alexandre Zanetti de Almeida" userId="129d4ce6-e715-4d33-b4c4-312f1656225b" providerId="ADAL" clId="{C563E171-CFEB-4F4D-8699-6193E6ECFF79}" dt="2025-08-19T12:24:50.094" v="26" actId="20577"/>
        <pc:sldMkLst>
          <pc:docMk/>
          <pc:sldMk cId="3897802803" sldId="2147470308"/>
        </pc:sldMkLst>
        <pc:spChg chg="mod">
          <ac:chgData name="Alexandre Zanetti de Almeida" userId="129d4ce6-e715-4d33-b4c4-312f1656225b" providerId="ADAL" clId="{C563E171-CFEB-4F4D-8699-6193E6ECFF79}" dt="2025-08-19T12:24:50.094" v="26" actId="20577"/>
          <ac:spMkLst>
            <pc:docMk/>
            <pc:sldMk cId="3897802803" sldId="2147470308"/>
            <ac:spMk id="68" creationId="{8B325CD3-88E2-9088-28D6-1478F48897A3}"/>
          </ac:spMkLst>
        </pc:spChg>
      </pc:sldChg>
      <pc:sldChg chg="modSp mod">
        <pc:chgData name="Alexandre Zanetti de Almeida" userId="129d4ce6-e715-4d33-b4c4-312f1656225b" providerId="ADAL" clId="{C563E171-CFEB-4F4D-8699-6193E6ECFF79}" dt="2025-08-19T12:32:41.256" v="90" actId="20577"/>
        <pc:sldMkLst>
          <pc:docMk/>
          <pc:sldMk cId="3451687335" sldId="2147470309"/>
        </pc:sldMkLst>
        <pc:spChg chg="mod">
          <ac:chgData name="Alexandre Zanetti de Almeida" userId="129d4ce6-e715-4d33-b4c4-312f1656225b" providerId="ADAL" clId="{C563E171-CFEB-4F4D-8699-6193E6ECFF79}" dt="2025-08-19T12:32:41.256" v="90" actId="20577"/>
          <ac:spMkLst>
            <pc:docMk/>
            <pc:sldMk cId="3451687335" sldId="2147470309"/>
            <ac:spMk id="56" creationId="{42FE97CC-C51D-803F-71C0-DE3CFFF28E78}"/>
          </ac:spMkLst>
        </pc:spChg>
        <pc:spChg chg="mod">
          <ac:chgData name="Alexandre Zanetti de Almeida" userId="129d4ce6-e715-4d33-b4c4-312f1656225b" providerId="ADAL" clId="{C563E171-CFEB-4F4D-8699-6193E6ECFF79}" dt="2025-08-19T12:25:04.743" v="27"/>
          <ac:spMkLst>
            <pc:docMk/>
            <pc:sldMk cId="3451687335" sldId="2147470309"/>
            <ac:spMk id="68" creationId="{473B80D9-67C3-6246-510D-6AB140805252}"/>
          </ac:spMkLst>
        </pc:spChg>
      </pc:sldChg>
      <pc:sldChg chg="modSp mod">
        <pc:chgData name="Alexandre Zanetti de Almeida" userId="129d4ce6-e715-4d33-b4c4-312f1656225b" providerId="ADAL" clId="{C563E171-CFEB-4F4D-8699-6193E6ECFF79}" dt="2025-08-19T12:25:09.983" v="30" actId="20577"/>
        <pc:sldMkLst>
          <pc:docMk/>
          <pc:sldMk cId="2538063378" sldId="2147470310"/>
        </pc:sldMkLst>
        <pc:spChg chg="mod">
          <ac:chgData name="Alexandre Zanetti de Almeida" userId="129d4ce6-e715-4d33-b4c4-312f1656225b" providerId="ADAL" clId="{C563E171-CFEB-4F4D-8699-6193E6ECFF79}" dt="2025-08-19T12:25:09.983" v="30" actId="20577"/>
          <ac:spMkLst>
            <pc:docMk/>
            <pc:sldMk cId="2538063378" sldId="2147470310"/>
            <ac:spMk id="68" creationId="{75A950D8-9E35-2477-3D27-24CFD6CB8523}"/>
          </ac:spMkLst>
        </pc:spChg>
      </pc:sldChg>
      <pc:sldChg chg="modSp">
        <pc:chgData name="Alexandre Zanetti de Almeida" userId="129d4ce6-e715-4d33-b4c4-312f1656225b" providerId="ADAL" clId="{C563E171-CFEB-4F4D-8699-6193E6ECFF79}" dt="2025-08-19T12:25:14.797" v="31"/>
        <pc:sldMkLst>
          <pc:docMk/>
          <pc:sldMk cId="4084511335" sldId="2147470311"/>
        </pc:sldMkLst>
        <pc:spChg chg="mod">
          <ac:chgData name="Alexandre Zanetti de Almeida" userId="129d4ce6-e715-4d33-b4c4-312f1656225b" providerId="ADAL" clId="{C563E171-CFEB-4F4D-8699-6193E6ECFF79}" dt="2025-08-19T12:25:14.797" v="31"/>
          <ac:spMkLst>
            <pc:docMk/>
            <pc:sldMk cId="4084511335" sldId="2147470311"/>
            <ac:spMk id="68" creationId="{33240CD6-2B10-C098-2A7F-75BB361D301F}"/>
          </ac:spMkLst>
        </pc:spChg>
      </pc:sldChg>
      <pc:sldChg chg="modSp">
        <pc:chgData name="Alexandre Zanetti de Almeida" userId="129d4ce6-e715-4d33-b4c4-312f1656225b" providerId="ADAL" clId="{C563E171-CFEB-4F4D-8699-6193E6ECFF79}" dt="2025-08-19T12:25:25.318" v="33"/>
        <pc:sldMkLst>
          <pc:docMk/>
          <pc:sldMk cId="1954888133" sldId="2147470312"/>
        </pc:sldMkLst>
        <pc:spChg chg="mod">
          <ac:chgData name="Alexandre Zanetti de Almeida" userId="129d4ce6-e715-4d33-b4c4-312f1656225b" providerId="ADAL" clId="{C563E171-CFEB-4F4D-8699-6193E6ECFF79}" dt="2025-08-19T12:25:25.318" v="33"/>
          <ac:spMkLst>
            <pc:docMk/>
            <pc:sldMk cId="1954888133" sldId="2147470312"/>
            <ac:spMk id="68" creationId="{CB9DD5C0-FD83-6E13-DA3F-9EB5D1215197}"/>
          </ac:spMkLst>
        </pc:spChg>
      </pc:sldChg>
      <pc:sldChg chg="modSp">
        <pc:chgData name="Alexandre Zanetti de Almeida" userId="129d4ce6-e715-4d33-b4c4-312f1656225b" providerId="ADAL" clId="{C563E171-CFEB-4F4D-8699-6193E6ECFF79}" dt="2025-08-19T12:25:19.394" v="32"/>
        <pc:sldMkLst>
          <pc:docMk/>
          <pc:sldMk cId="2426779336" sldId="2147470313"/>
        </pc:sldMkLst>
        <pc:spChg chg="mod">
          <ac:chgData name="Alexandre Zanetti de Almeida" userId="129d4ce6-e715-4d33-b4c4-312f1656225b" providerId="ADAL" clId="{C563E171-CFEB-4F4D-8699-6193E6ECFF79}" dt="2025-08-19T12:25:19.394" v="32"/>
          <ac:spMkLst>
            <pc:docMk/>
            <pc:sldMk cId="2426779336" sldId="2147470313"/>
            <ac:spMk id="68" creationId="{3BCF68D6-1E13-16AE-4669-BC590EB9C23C}"/>
          </ac:spMkLst>
        </pc:spChg>
      </pc:sldChg>
      <pc:sldChg chg="modSp">
        <pc:chgData name="Alexandre Zanetti de Almeida" userId="129d4ce6-e715-4d33-b4c4-312f1656225b" providerId="ADAL" clId="{C563E171-CFEB-4F4D-8699-6193E6ECFF79}" dt="2025-08-19T12:25:29.686" v="34"/>
        <pc:sldMkLst>
          <pc:docMk/>
          <pc:sldMk cId="1764769990" sldId="2147470314"/>
        </pc:sldMkLst>
        <pc:spChg chg="mod">
          <ac:chgData name="Alexandre Zanetti de Almeida" userId="129d4ce6-e715-4d33-b4c4-312f1656225b" providerId="ADAL" clId="{C563E171-CFEB-4F4D-8699-6193E6ECFF79}" dt="2025-08-19T12:25:29.686" v="34"/>
          <ac:spMkLst>
            <pc:docMk/>
            <pc:sldMk cId="1764769990" sldId="2147470314"/>
            <ac:spMk id="68" creationId="{B4B4211E-7542-804F-6A2C-88ECB3514525}"/>
          </ac:spMkLst>
        </pc:spChg>
      </pc:sldChg>
    </pc:docChg>
  </pc:docChgLst>
  <pc:docChgLst>
    <pc:chgData name="Alexandre Zanetti de Almeida" userId="129d4ce6-e715-4d33-b4c4-312f1656225b" providerId="ADAL" clId="{B2D14E4C-771A-44E5-B59A-2A7036F0B9A7}"/>
    <pc:docChg chg="undo redo custSel addSld delSld modSld modSection">
      <pc:chgData name="Alexandre Zanetti de Almeida" userId="129d4ce6-e715-4d33-b4c4-312f1656225b" providerId="ADAL" clId="{B2D14E4C-771A-44E5-B59A-2A7036F0B9A7}" dt="2025-06-05T17:47:44.532" v="1129" actId="113"/>
      <pc:docMkLst>
        <pc:docMk/>
      </pc:docMkLst>
      <pc:sldChg chg="modSp mod">
        <pc:chgData name="Alexandre Zanetti de Almeida" userId="129d4ce6-e715-4d33-b4c4-312f1656225b" providerId="ADAL" clId="{B2D14E4C-771A-44E5-B59A-2A7036F0B9A7}" dt="2025-05-27T12:32:35.035" v="77" actId="20577"/>
        <pc:sldMkLst>
          <pc:docMk/>
          <pc:sldMk cId="3565198220" sldId="257"/>
        </pc:sldMkLst>
        <pc:spChg chg="mod">
          <ac:chgData name="Alexandre Zanetti de Almeida" userId="129d4ce6-e715-4d33-b4c4-312f1656225b" providerId="ADAL" clId="{B2D14E4C-771A-44E5-B59A-2A7036F0B9A7}" dt="2025-05-27T12:32:35.035" v="77" actId="20577"/>
          <ac:spMkLst>
            <pc:docMk/>
            <pc:sldMk cId="3565198220" sldId="257"/>
            <ac:spMk id="6" creationId="{2D44CC79-D79C-BF0C-82C8-75A442AF8EFE}"/>
          </ac:spMkLst>
        </pc:spChg>
      </pc:sldChg>
      <pc:sldChg chg="del">
        <pc:chgData name="Alexandre Zanetti de Almeida" userId="129d4ce6-e715-4d33-b4c4-312f1656225b" providerId="ADAL" clId="{B2D14E4C-771A-44E5-B59A-2A7036F0B9A7}" dt="2025-06-04T17:34:16.753" v="950" actId="47"/>
        <pc:sldMkLst>
          <pc:docMk/>
          <pc:sldMk cId="2159936922" sldId="2147470237"/>
        </pc:sldMkLst>
      </pc:sldChg>
      <pc:sldChg chg="del">
        <pc:chgData name="Alexandre Zanetti de Almeida" userId="129d4ce6-e715-4d33-b4c4-312f1656225b" providerId="ADAL" clId="{B2D14E4C-771A-44E5-B59A-2A7036F0B9A7}" dt="2025-06-04T17:34:08.668" v="949" actId="47"/>
        <pc:sldMkLst>
          <pc:docMk/>
          <pc:sldMk cId="2262049528" sldId="2147470239"/>
        </pc:sldMkLst>
      </pc:sldChg>
      <pc:sldChg chg="addSp delSp modSp mod">
        <pc:chgData name="Alexandre Zanetti de Almeida" userId="129d4ce6-e715-4d33-b4c4-312f1656225b" providerId="ADAL" clId="{B2D14E4C-771A-44E5-B59A-2A7036F0B9A7}" dt="2025-06-04T17:35:03.746" v="955" actId="1076"/>
        <pc:sldMkLst>
          <pc:docMk/>
          <pc:sldMk cId="2698931172" sldId="2147470252"/>
        </pc:sldMkLst>
      </pc:sldChg>
      <pc:sldChg chg="modSp mod">
        <pc:chgData name="Alexandre Zanetti de Almeida" userId="129d4ce6-e715-4d33-b4c4-312f1656225b" providerId="ADAL" clId="{B2D14E4C-771A-44E5-B59A-2A7036F0B9A7}" dt="2025-05-22T14:17:36.872" v="2" actId="6549"/>
        <pc:sldMkLst>
          <pc:docMk/>
          <pc:sldMk cId="3968536791" sldId="2147470256"/>
        </pc:sldMkLst>
        <pc:spChg chg="mod">
          <ac:chgData name="Alexandre Zanetti de Almeida" userId="129d4ce6-e715-4d33-b4c4-312f1656225b" providerId="ADAL" clId="{B2D14E4C-771A-44E5-B59A-2A7036F0B9A7}" dt="2025-05-22T14:17:36.872" v="2" actId="6549"/>
          <ac:spMkLst>
            <pc:docMk/>
            <pc:sldMk cId="3968536791" sldId="2147470256"/>
            <ac:spMk id="4" creationId="{11A9C1AD-6E67-83D8-FB11-CB0C8F9D93D0}"/>
          </ac:spMkLst>
        </pc:spChg>
      </pc:sldChg>
      <pc:sldChg chg="addSp delSp modSp del mod">
        <pc:chgData name="Alexandre Zanetti de Almeida" userId="129d4ce6-e715-4d33-b4c4-312f1656225b" providerId="ADAL" clId="{B2D14E4C-771A-44E5-B59A-2A7036F0B9A7}" dt="2025-06-04T17:16:24.694" v="608" actId="47"/>
        <pc:sldMkLst>
          <pc:docMk/>
          <pc:sldMk cId="711146589" sldId="2147470260"/>
        </pc:sldMkLst>
      </pc:sldChg>
      <pc:sldChg chg="del">
        <pc:chgData name="Alexandre Zanetti de Almeida" userId="129d4ce6-e715-4d33-b4c4-312f1656225b" providerId="ADAL" clId="{B2D14E4C-771A-44E5-B59A-2A7036F0B9A7}" dt="2025-06-04T17:16:25.579" v="609" actId="47"/>
        <pc:sldMkLst>
          <pc:docMk/>
          <pc:sldMk cId="3740504343" sldId="2147470264"/>
        </pc:sldMkLst>
      </pc:sldChg>
      <pc:sldChg chg="del">
        <pc:chgData name="Alexandre Zanetti de Almeida" userId="129d4ce6-e715-4d33-b4c4-312f1656225b" providerId="ADAL" clId="{B2D14E4C-771A-44E5-B59A-2A7036F0B9A7}" dt="2025-06-04T17:16:27.129" v="611" actId="47"/>
        <pc:sldMkLst>
          <pc:docMk/>
          <pc:sldMk cId="932104382" sldId="2147470265"/>
        </pc:sldMkLst>
      </pc:sldChg>
      <pc:sldChg chg="del">
        <pc:chgData name="Alexandre Zanetti de Almeida" userId="129d4ce6-e715-4d33-b4c4-312f1656225b" providerId="ADAL" clId="{B2D14E4C-771A-44E5-B59A-2A7036F0B9A7}" dt="2025-06-04T17:16:26.265" v="610" actId="47"/>
        <pc:sldMkLst>
          <pc:docMk/>
          <pc:sldMk cId="1151922140" sldId="2147470266"/>
        </pc:sldMkLst>
      </pc:sldChg>
      <pc:sldChg chg="del">
        <pc:chgData name="Alexandre Zanetti de Almeida" userId="129d4ce6-e715-4d33-b4c4-312f1656225b" providerId="ADAL" clId="{B2D14E4C-771A-44E5-B59A-2A7036F0B9A7}" dt="2025-06-04T17:16:30.764" v="613" actId="47"/>
        <pc:sldMkLst>
          <pc:docMk/>
          <pc:sldMk cId="3400865459" sldId="2147470267"/>
        </pc:sldMkLst>
      </pc:sldChg>
      <pc:sldChg chg="del">
        <pc:chgData name="Alexandre Zanetti de Almeida" userId="129d4ce6-e715-4d33-b4c4-312f1656225b" providerId="ADAL" clId="{B2D14E4C-771A-44E5-B59A-2A7036F0B9A7}" dt="2025-06-04T17:16:31.314" v="614" actId="47"/>
        <pc:sldMkLst>
          <pc:docMk/>
          <pc:sldMk cId="3117851536" sldId="2147470268"/>
        </pc:sldMkLst>
      </pc:sldChg>
      <pc:sldChg chg="del">
        <pc:chgData name="Alexandre Zanetti de Almeida" userId="129d4ce6-e715-4d33-b4c4-312f1656225b" providerId="ADAL" clId="{B2D14E4C-771A-44E5-B59A-2A7036F0B9A7}" dt="2025-06-04T17:16:32.004" v="615" actId="47"/>
        <pc:sldMkLst>
          <pc:docMk/>
          <pc:sldMk cId="3782968705" sldId="2147470269"/>
        </pc:sldMkLst>
      </pc:sldChg>
      <pc:sldChg chg="del mod modShow">
        <pc:chgData name="Alexandre Zanetti de Almeida" userId="129d4ce6-e715-4d33-b4c4-312f1656225b" providerId="ADAL" clId="{B2D14E4C-771A-44E5-B59A-2A7036F0B9A7}" dt="2025-06-04T17:16:32.834" v="616" actId="47"/>
        <pc:sldMkLst>
          <pc:docMk/>
          <pc:sldMk cId="3086265038" sldId="2147470270"/>
        </pc:sldMkLst>
      </pc:sldChg>
      <pc:sldChg chg="del">
        <pc:chgData name="Alexandre Zanetti de Almeida" userId="129d4ce6-e715-4d33-b4c4-312f1656225b" providerId="ADAL" clId="{B2D14E4C-771A-44E5-B59A-2A7036F0B9A7}" dt="2025-06-04T17:16:37.945" v="619" actId="47"/>
        <pc:sldMkLst>
          <pc:docMk/>
          <pc:sldMk cId="2240363707" sldId="2147470271"/>
        </pc:sldMkLst>
      </pc:sldChg>
      <pc:sldChg chg="del">
        <pc:chgData name="Alexandre Zanetti de Almeida" userId="129d4ce6-e715-4d33-b4c4-312f1656225b" providerId="ADAL" clId="{B2D14E4C-771A-44E5-B59A-2A7036F0B9A7}" dt="2025-06-04T17:16:38.974" v="620" actId="47"/>
        <pc:sldMkLst>
          <pc:docMk/>
          <pc:sldMk cId="1308457340" sldId="2147470272"/>
        </pc:sldMkLst>
      </pc:sldChg>
      <pc:sldChg chg="del">
        <pc:chgData name="Alexandre Zanetti de Almeida" userId="129d4ce6-e715-4d33-b4c4-312f1656225b" providerId="ADAL" clId="{B2D14E4C-771A-44E5-B59A-2A7036F0B9A7}" dt="2025-06-04T17:16:39.969" v="621" actId="47"/>
        <pc:sldMkLst>
          <pc:docMk/>
          <pc:sldMk cId="4081688936" sldId="2147470273"/>
        </pc:sldMkLst>
      </pc:sldChg>
      <pc:sldChg chg="del">
        <pc:chgData name="Alexandre Zanetti de Almeida" userId="129d4ce6-e715-4d33-b4c4-312f1656225b" providerId="ADAL" clId="{B2D14E4C-771A-44E5-B59A-2A7036F0B9A7}" dt="2025-06-04T17:16:40.789" v="622" actId="47"/>
        <pc:sldMkLst>
          <pc:docMk/>
          <pc:sldMk cId="1140124133" sldId="2147470274"/>
        </pc:sldMkLst>
      </pc:sldChg>
      <pc:sldChg chg="del">
        <pc:chgData name="Alexandre Zanetti de Almeida" userId="129d4ce6-e715-4d33-b4c4-312f1656225b" providerId="ADAL" clId="{B2D14E4C-771A-44E5-B59A-2A7036F0B9A7}" dt="2025-06-04T17:16:44.306" v="624" actId="47"/>
        <pc:sldMkLst>
          <pc:docMk/>
          <pc:sldMk cId="1978506895" sldId="2147470275"/>
        </pc:sldMkLst>
      </pc:sldChg>
      <pc:sldChg chg="del">
        <pc:chgData name="Alexandre Zanetti de Almeida" userId="129d4ce6-e715-4d33-b4c4-312f1656225b" providerId="ADAL" clId="{B2D14E4C-771A-44E5-B59A-2A7036F0B9A7}" dt="2025-06-04T17:16:46.019" v="626" actId="47"/>
        <pc:sldMkLst>
          <pc:docMk/>
          <pc:sldMk cId="345051913" sldId="2147470276"/>
        </pc:sldMkLst>
      </pc:sldChg>
      <pc:sldChg chg="del">
        <pc:chgData name="Alexandre Zanetti de Almeida" userId="129d4ce6-e715-4d33-b4c4-312f1656225b" providerId="ADAL" clId="{B2D14E4C-771A-44E5-B59A-2A7036F0B9A7}" dt="2025-06-04T17:16:45.144" v="625" actId="47"/>
        <pc:sldMkLst>
          <pc:docMk/>
          <pc:sldMk cId="823643048" sldId="2147470277"/>
        </pc:sldMkLst>
      </pc:sldChg>
      <pc:sldChg chg="del mod modShow">
        <pc:chgData name="Alexandre Zanetti de Almeida" userId="129d4ce6-e715-4d33-b4c4-312f1656225b" providerId="ADAL" clId="{B2D14E4C-771A-44E5-B59A-2A7036F0B9A7}" dt="2025-06-04T17:16:46.908" v="627" actId="47"/>
        <pc:sldMkLst>
          <pc:docMk/>
          <pc:sldMk cId="2664406118" sldId="2147470278"/>
        </pc:sldMkLst>
      </pc:sldChg>
      <pc:sldChg chg="del">
        <pc:chgData name="Alexandre Zanetti de Almeida" userId="129d4ce6-e715-4d33-b4c4-312f1656225b" providerId="ADAL" clId="{B2D14E4C-771A-44E5-B59A-2A7036F0B9A7}" dt="2025-06-04T17:16:50.154" v="629" actId="47"/>
        <pc:sldMkLst>
          <pc:docMk/>
          <pc:sldMk cId="1056299241" sldId="2147470279"/>
        </pc:sldMkLst>
      </pc:sldChg>
      <pc:sldChg chg="del">
        <pc:chgData name="Alexandre Zanetti de Almeida" userId="129d4ce6-e715-4d33-b4c4-312f1656225b" providerId="ADAL" clId="{B2D14E4C-771A-44E5-B59A-2A7036F0B9A7}" dt="2025-06-04T17:16:50.959" v="630" actId="47"/>
        <pc:sldMkLst>
          <pc:docMk/>
          <pc:sldMk cId="4079523240" sldId="2147470280"/>
        </pc:sldMkLst>
      </pc:sldChg>
      <pc:sldChg chg="del">
        <pc:chgData name="Alexandre Zanetti de Almeida" userId="129d4ce6-e715-4d33-b4c4-312f1656225b" providerId="ADAL" clId="{B2D14E4C-771A-44E5-B59A-2A7036F0B9A7}" dt="2025-06-04T17:16:51.845" v="631" actId="47"/>
        <pc:sldMkLst>
          <pc:docMk/>
          <pc:sldMk cId="98271423" sldId="2147470281"/>
        </pc:sldMkLst>
      </pc:sldChg>
      <pc:sldChg chg="addSp delSp modSp mod">
        <pc:chgData name="Alexandre Zanetti de Almeida" userId="129d4ce6-e715-4d33-b4c4-312f1656225b" providerId="ADAL" clId="{B2D14E4C-771A-44E5-B59A-2A7036F0B9A7}" dt="2025-06-05T13:10:20.182" v="1001" actId="1076"/>
        <pc:sldMkLst>
          <pc:docMk/>
          <pc:sldMk cId="3670869292" sldId="2147470282"/>
        </pc:sldMkLst>
        <pc:spChg chg="mod">
          <ac:chgData name="Alexandre Zanetti de Almeida" userId="129d4ce6-e715-4d33-b4c4-312f1656225b" providerId="ADAL" clId="{B2D14E4C-771A-44E5-B59A-2A7036F0B9A7}" dt="2025-06-04T17:33:48.353" v="943" actId="403"/>
          <ac:spMkLst>
            <pc:docMk/>
            <pc:sldMk cId="3670869292" sldId="2147470282"/>
            <ac:spMk id="2" creationId="{C043FC53-028C-0440-C2F4-3DF988BCBA94}"/>
          </ac:spMkLst>
        </pc:spChg>
        <pc:graphicFrameChg chg="add mod modGraphic">
          <ac:chgData name="Alexandre Zanetti de Almeida" userId="129d4ce6-e715-4d33-b4c4-312f1656225b" providerId="ADAL" clId="{B2D14E4C-771A-44E5-B59A-2A7036F0B9A7}" dt="2025-06-05T13:07:59.273" v="987" actId="14734"/>
          <ac:graphicFrameMkLst>
            <pc:docMk/>
            <pc:sldMk cId="3670869292" sldId="2147470282"/>
            <ac:graphicFrameMk id="5" creationId="{08483D9F-5DE7-9AA5-16E0-98BFF60B78C1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08:27.952" v="989"/>
          <ac:graphicFrameMkLst>
            <pc:docMk/>
            <pc:sldMk cId="3670869292" sldId="2147470282"/>
            <ac:graphicFrameMk id="7" creationId="{593B496F-4CE3-AA8F-3D28-8EF657B4BF33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0.182" v="1001" actId="1076"/>
          <ac:graphicFrameMkLst>
            <pc:docMk/>
            <pc:sldMk cId="3670869292" sldId="2147470282"/>
            <ac:graphicFrameMk id="9" creationId="{FF4C9011-82F8-1E0E-7A1A-7A7A4B973C72}"/>
          </ac:graphicFrameMkLst>
        </pc:graphicFrameChg>
      </pc:sldChg>
      <pc:sldChg chg="modSp del mod modShow">
        <pc:chgData name="Alexandre Zanetti de Almeida" userId="129d4ce6-e715-4d33-b4c4-312f1656225b" providerId="ADAL" clId="{B2D14E4C-771A-44E5-B59A-2A7036F0B9A7}" dt="2025-06-04T17:16:28.155" v="612" actId="47"/>
        <pc:sldMkLst>
          <pc:docMk/>
          <pc:sldMk cId="2817282654" sldId="2147470283"/>
        </pc:sldMkLst>
      </pc:sldChg>
      <pc:sldChg chg="modSp del mod modShow">
        <pc:chgData name="Alexandre Zanetti de Almeida" userId="129d4ce6-e715-4d33-b4c4-312f1656225b" providerId="ADAL" clId="{B2D14E4C-771A-44E5-B59A-2A7036F0B9A7}" dt="2025-06-04T17:16:33.714" v="617" actId="47"/>
        <pc:sldMkLst>
          <pc:docMk/>
          <pc:sldMk cId="57506138" sldId="2147470284"/>
        </pc:sldMkLst>
      </pc:sldChg>
      <pc:sldChg chg="del mod modShow">
        <pc:chgData name="Alexandre Zanetti de Almeida" userId="129d4ce6-e715-4d33-b4c4-312f1656225b" providerId="ADAL" clId="{B2D14E4C-771A-44E5-B59A-2A7036F0B9A7}" dt="2025-06-04T17:16:41.594" v="623" actId="47"/>
        <pc:sldMkLst>
          <pc:docMk/>
          <pc:sldMk cId="481838124" sldId="2147470285"/>
        </pc:sldMkLst>
      </pc:sldChg>
      <pc:sldChg chg="del mod modShow">
        <pc:chgData name="Alexandre Zanetti de Almeida" userId="129d4ce6-e715-4d33-b4c4-312f1656225b" providerId="ADAL" clId="{B2D14E4C-771A-44E5-B59A-2A7036F0B9A7}" dt="2025-06-04T17:16:47.894" v="628" actId="47"/>
        <pc:sldMkLst>
          <pc:docMk/>
          <pc:sldMk cId="1173113283" sldId="2147470286"/>
        </pc:sldMkLst>
      </pc:sldChg>
      <pc:sldChg chg="modSp del mod modShow">
        <pc:chgData name="Alexandre Zanetti de Almeida" userId="129d4ce6-e715-4d33-b4c4-312f1656225b" providerId="ADAL" clId="{B2D14E4C-771A-44E5-B59A-2A7036F0B9A7}" dt="2025-06-04T17:16:52.806" v="632" actId="47"/>
        <pc:sldMkLst>
          <pc:docMk/>
          <pc:sldMk cId="20244889" sldId="2147470287"/>
        </pc:sldMkLst>
      </pc:sldChg>
      <pc:sldChg chg="addSp delSp modSp del mod">
        <pc:chgData name="Alexandre Zanetti de Almeida" userId="129d4ce6-e715-4d33-b4c4-312f1656225b" providerId="ADAL" clId="{B2D14E4C-771A-44E5-B59A-2A7036F0B9A7}" dt="2025-06-05T13:10:50.379" v="1012" actId="47"/>
        <pc:sldMkLst>
          <pc:docMk/>
          <pc:sldMk cId="4066329794" sldId="2147470288"/>
        </pc:sldMkLst>
      </pc:sldChg>
      <pc:sldChg chg="addSp delSp modSp add del mod modShow">
        <pc:chgData name="Alexandre Zanetti de Almeida" userId="129d4ce6-e715-4d33-b4c4-312f1656225b" providerId="ADAL" clId="{B2D14E4C-771A-44E5-B59A-2A7036F0B9A7}" dt="2025-06-04T17:16:56.051" v="633" actId="47"/>
        <pc:sldMkLst>
          <pc:docMk/>
          <pc:sldMk cId="998295101" sldId="2147470289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094" v="634" actId="47"/>
        <pc:sldMkLst>
          <pc:docMk/>
          <pc:sldMk cId="117742514" sldId="2147470290"/>
        </pc:sldMkLst>
      </pc:sldChg>
      <pc:sldChg chg="modSp add del mod modShow">
        <pc:chgData name="Alexandre Zanetti de Almeida" userId="129d4ce6-e715-4d33-b4c4-312f1656225b" providerId="ADAL" clId="{B2D14E4C-771A-44E5-B59A-2A7036F0B9A7}" dt="2025-06-04T17:16:57.839" v="635" actId="47"/>
        <pc:sldMkLst>
          <pc:docMk/>
          <pc:sldMk cId="420519257" sldId="2147470291"/>
        </pc:sldMkLst>
      </pc:sldChg>
      <pc:sldChg chg="addSp modSp add mod">
        <pc:chgData name="Alexandre Zanetti de Almeida" userId="129d4ce6-e715-4d33-b4c4-312f1656225b" providerId="ADAL" clId="{B2D14E4C-771A-44E5-B59A-2A7036F0B9A7}" dt="2025-06-05T17:38:13.721" v="1093" actId="20577"/>
        <pc:sldMkLst>
          <pc:docMk/>
          <pc:sldMk cId="568721575" sldId="2147470292"/>
        </pc:sldMkLst>
      </pc:sldChg>
      <pc:sldChg chg="add del replId">
        <pc:chgData name="Alexandre Zanetti de Almeida" userId="129d4ce6-e715-4d33-b4c4-312f1656225b" providerId="ADAL" clId="{B2D14E4C-771A-44E5-B59A-2A7036F0B9A7}" dt="2025-05-23T12:52:31.449" v="67" actId="47"/>
        <pc:sldMkLst>
          <pc:docMk/>
          <pc:sldMk cId="3394882055" sldId="2147470292"/>
        </pc:sldMkLst>
      </pc:sldChg>
      <pc:sldChg chg="addSp modSp add mod">
        <pc:chgData name="Alexandre Zanetti de Almeida" userId="129d4ce6-e715-4d33-b4c4-312f1656225b" providerId="ADAL" clId="{B2D14E4C-771A-44E5-B59A-2A7036F0B9A7}" dt="2025-06-04T17:30:21.834" v="917" actId="207"/>
        <pc:sldMkLst>
          <pc:docMk/>
          <pc:sldMk cId="1097150443" sldId="2147470293"/>
        </pc:sldMkLst>
      </pc:sldChg>
      <pc:sldChg chg="add del">
        <pc:chgData name="Alexandre Zanetti de Almeida" userId="129d4ce6-e715-4d33-b4c4-312f1656225b" providerId="ADAL" clId="{B2D14E4C-771A-44E5-B59A-2A7036F0B9A7}" dt="2025-05-23T12:52:45.912" v="69" actId="47"/>
        <pc:sldMkLst>
          <pc:docMk/>
          <pc:sldMk cId="1903067440" sldId="2147470293"/>
        </pc:sldMkLst>
      </pc:sldChg>
      <pc:sldChg chg="addSp modSp add mod">
        <pc:chgData name="Alexandre Zanetti de Almeida" userId="129d4ce6-e715-4d33-b4c4-312f1656225b" providerId="ADAL" clId="{B2D14E4C-771A-44E5-B59A-2A7036F0B9A7}" dt="2025-06-04T17:30:19.594" v="916" actId="207"/>
        <pc:sldMkLst>
          <pc:docMk/>
          <pc:sldMk cId="3179614981" sldId="2147470294"/>
        </pc:sldMkLst>
      </pc:sldChg>
      <pc:sldChg chg="addSp delSp add del setBg delDesignElem">
        <pc:chgData name="Alexandre Zanetti de Almeida" userId="129d4ce6-e715-4d33-b4c4-312f1656225b" providerId="ADAL" clId="{B2D14E4C-771A-44E5-B59A-2A7036F0B9A7}" dt="2025-05-23T12:49:49.703" v="7"/>
        <pc:sldMkLst>
          <pc:docMk/>
          <pc:sldMk cId="3275488672" sldId="2147470294"/>
        </pc:sldMkLst>
      </pc:sldChg>
      <pc:sldChg chg="addSp modSp add mod">
        <pc:chgData name="Alexandre Zanetti de Almeida" userId="129d4ce6-e715-4d33-b4c4-312f1656225b" providerId="ADAL" clId="{B2D14E4C-771A-44E5-B59A-2A7036F0B9A7}" dt="2025-06-04T17:30:16.644" v="915" actId="207"/>
        <pc:sldMkLst>
          <pc:docMk/>
          <pc:sldMk cId="3633356812" sldId="2147470295"/>
        </pc:sldMkLst>
      </pc:sldChg>
      <pc:sldChg chg="addSp modSp add mod">
        <pc:chgData name="Alexandre Zanetti de Almeida" userId="129d4ce6-e715-4d33-b4c4-312f1656225b" providerId="ADAL" clId="{B2D14E4C-771A-44E5-B59A-2A7036F0B9A7}" dt="2025-06-05T17:47:44.532" v="1129" actId="113"/>
        <pc:sldMkLst>
          <pc:docMk/>
          <pc:sldMk cId="1816411801" sldId="2147470296"/>
        </pc:sldMkLst>
        <pc:spChg chg="add mod">
          <ac:chgData name="Alexandre Zanetti de Almeida" userId="129d4ce6-e715-4d33-b4c4-312f1656225b" providerId="ADAL" clId="{B2D14E4C-771A-44E5-B59A-2A7036F0B9A7}" dt="2025-06-05T17:47:44.532" v="1129" actId="113"/>
          <ac:spMkLst>
            <pc:docMk/>
            <pc:sldMk cId="1816411801" sldId="2147470296"/>
            <ac:spMk id="2" creationId="{280A29B4-709A-F201-C45D-C90E703C9A7B}"/>
          </ac:spMkLst>
        </pc:spChg>
        <pc:spChg chg="mod">
          <ac:chgData name="Alexandre Zanetti de Almeida" userId="129d4ce6-e715-4d33-b4c4-312f1656225b" providerId="ADAL" clId="{B2D14E4C-771A-44E5-B59A-2A7036F0B9A7}" dt="2025-05-28T14:47:07.283" v="413" actId="108"/>
          <ac:spMkLst>
            <pc:docMk/>
            <pc:sldMk cId="1816411801" sldId="2147470296"/>
            <ac:spMk id="68" creationId="{8334E916-D434-AC3A-0B11-078DBDDD86BA}"/>
          </ac:spMkLst>
        </pc:spChg>
        <pc:spChg chg="mod">
          <ac:chgData name="Alexandre Zanetti de Almeida" userId="129d4ce6-e715-4d33-b4c4-312f1656225b" providerId="ADAL" clId="{B2D14E4C-771A-44E5-B59A-2A7036F0B9A7}" dt="2025-05-28T14:48:04.401" v="468" actId="6549"/>
          <ac:spMkLst>
            <pc:docMk/>
            <pc:sldMk cId="1816411801" sldId="2147470296"/>
            <ac:spMk id="114" creationId="{D3327D97-8B12-4F8C-64FE-2CD7C73157F0}"/>
          </ac:spMkLst>
        </pc:spChg>
      </pc:sldChg>
      <pc:sldChg chg="addSp modSp add mod">
        <pc:chgData name="Alexandre Zanetti de Almeida" userId="129d4ce6-e715-4d33-b4c4-312f1656225b" providerId="ADAL" clId="{B2D14E4C-771A-44E5-B59A-2A7036F0B9A7}" dt="2025-06-04T17:29:59.744" v="914" actId="207"/>
        <pc:sldMkLst>
          <pc:docMk/>
          <pc:sldMk cId="2579482346" sldId="2147470297"/>
        </pc:sldMkLst>
      </pc:sldChg>
      <pc:sldChg chg="addSp delSp modSp add del mod">
        <pc:chgData name="Alexandre Zanetti de Almeida" userId="129d4ce6-e715-4d33-b4c4-312f1656225b" providerId="ADAL" clId="{B2D14E4C-771A-44E5-B59A-2A7036F0B9A7}" dt="2025-06-04T17:16:36.149" v="618" actId="47"/>
        <pc:sldMkLst>
          <pc:docMk/>
          <pc:sldMk cId="1180019146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7:35:37.937" v="1066" actId="20577"/>
        <pc:sldMkLst>
          <pc:docMk/>
          <pc:sldMk cId="3541679384" sldId="2147470298"/>
        </pc:sldMkLst>
      </pc:sldChg>
      <pc:sldChg chg="addSp delSp modSp add mod">
        <pc:chgData name="Alexandre Zanetti de Almeida" userId="129d4ce6-e715-4d33-b4c4-312f1656225b" providerId="ADAL" clId="{B2D14E4C-771A-44E5-B59A-2A7036F0B9A7}" dt="2025-06-05T13:10:33.085" v="1007" actId="1076"/>
        <pc:sldMkLst>
          <pc:docMk/>
          <pc:sldMk cId="1851950588" sldId="2147470299"/>
        </pc:sldMkLst>
        <pc:graphicFrameChg chg="add mod">
          <ac:chgData name="Alexandre Zanetti de Almeida" userId="129d4ce6-e715-4d33-b4c4-312f1656225b" providerId="ADAL" clId="{B2D14E4C-771A-44E5-B59A-2A7036F0B9A7}" dt="2025-06-05T13:10:33.085" v="1007" actId="1076"/>
          <ac:graphicFrameMkLst>
            <pc:docMk/>
            <pc:sldMk cId="1851950588" sldId="2147470299"/>
            <ac:graphicFrameMk id="8" creationId="{333330C1-C2B4-1A6E-0083-47EDE508C269}"/>
          </ac:graphicFrameMkLst>
        </pc:graphicFrameChg>
        <pc:graphicFrameChg chg="add mod">
          <ac:chgData name="Alexandre Zanetti de Almeida" userId="129d4ce6-e715-4d33-b4c4-312f1656225b" providerId="ADAL" clId="{B2D14E4C-771A-44E5-B59A-2A7036F0B9A7}" dt="2025-06-05T13:10:29.655" v="1006"/>
          <ac:graphicFrameMkLst>
            <pc:docMk/>
            <pc:sldMk cId="1851950588" sldId="2147470299"/>
            <ac:graphicFrameMk id="9" creationId="{5184429A-69CE-ECB0-7867-7710A7A39EDB}"/>
          </ac:graphicFrameMkLst>
        </pc:graphicFrameChg>
      </pc:sldChg>
      <pc:sldChg chg="addSp delSp modSp add mod">
        <pc:chgData name="Alexandre Zanetti de Almeida" userId="129d4ce6-e715-4d33-b4c4-312f1656225b" providerId="ADAL" clId="{B2D14E4C-771A-44E5-B59A-2A7036F0B9A7}" dt="2025-06-05T13:10:45.858" v="1011"/>
        <pc:sldMkLst>
          <pc:docMk/>
          <pc:sldMk cId="3302726499" sldId="2147470300"/>
        </pc:sldMkLst>
        <pc:graphicFrameChg chg="add mod">
          <ac:chgData name="Alexandre Zanetti de Almeida" userId="129d4ce6-e715-4d33-b4c4-312f1656225b" providerId="ADAL" clId="{B2D14E4C-771A-44E5-B59A-2A7036F0B9A7}" dt="2025-06-05T13:10:45.858" v="1011"/>
          <ac:graphicFrameMkLst>
            <pc:docMk/>
            <pc:sldMk cId="3302726499" sldId="2147470300"/>
            <ac:graphicFrameMk id="8" creationId="{E41A2B47-B64D-E874-D712-340B60C70B40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CDC89-5FE6-4B34-9A5D-1E08CFC37286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EEA83E-3FD9-45DF-9909-761FD3E0C43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117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A829-EE25-924A-A042-A385156E74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34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A829-EE25-924A-A042-A385156E74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39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3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22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A2B7A-6F32-7178-694C-235973298C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4260B06-0242-3870-2DA9-940B2F8CD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A4491C7-1AFA-DB47-3818-28766B684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38970A-3E98-555B-992A-F605A4BE3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4281B37-251D-2ACB-4D2E-BDCC63D33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195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BB5C74-5447-4FC8-E41B-FDDF4D79F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A98CF0-C7DB-BCB5-28B1-149877868C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83D8D0-1A84-4100-8A76-69A1D6BB7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4C227D0-7D00-873A-90E4-1C56AAF58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20D776-820A-884A-081C-72CEA3446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22749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76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4023183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666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93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4834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70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D779B3C-3C2D-5F07-76E8-72E10A38E9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972C9E-C0C5-45EF-1BF6-ACF5D50CFA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2B988A-1510-9C84-2077-24A1BEDFA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EA231A-014D-5468-EB7F-2EC80ECC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1C96B8-F2DE-DC98-1F19-13C39CA7A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205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60198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6" y="1886663"/>
            <a:ext cx="5324696" cy="4296421"/>
          </a:xfrm>
          <a:prstGeom prst="rect">
            <a:avLst/>
          </a:prstGeom>
        </p:spPr>
        <p:txBody>
          <a:bodyPr lIns="91425" tIns="91425" rIns="45720" bIns="91425" anchor="t" anchorCtr="0">
            <a:normAutofit/>
          </a:bodyPr>
          <a:lstStyle>
            <a:lvl1pPr marL="290513" lvl="0" indent="-227013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7" y="833355"/>
            <a:ext cx="11585448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BE95FF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 – Key mess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4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hape 27">
            <a:extLst>
              <a:ext uri="{FF2B5EF4-FFF2-40B4-BE49-F238E27FC236}">
                <a16:creationId xmlns:a16="http://schemas.microsoft.com/office/drawing/2014/main" id="{28AAD0CA-B090-384F-92FD-7B8693F604A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526681" y="1868326"/>
            <a:ext cx="5324696" cy="429642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228595" lvl="0" indent="0" rtl="0">
              <a:spcBef>
                <a:spcPts val="800"/>
              </a:spcBef>
              <a:buClr>
                <a:srgbClr val="0F62FE"/>
              </a:buClr>
              <a:buSzPct val="100000"/>
              <a:buFontTx/>
              <a:buNone/>
              <a:tabLst/>
              <a:defRPr sz="1600" b="0" i="0" baseline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 sz="16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IBM Plex Sans" charset="0"/>
              </a:rPr>
              <a:t>Level two bullet</a:t>
            </a:r>
          </a:p>
          <a:p>
            <a:pPr marL="457189" marR="0" lvl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1C29F"/>
              </a:buClr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IBM Plex Sans" charset="0"/>
            </a:endParaRP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52EFE0E-B64D-FA4F-BF4E-C314CC7CAE3D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630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+ images/icon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31"/>
          <p:cNvSpPr txBox="1">
            <a:spLocks noGrp="1"/>
          </p:cNvSpPr>
          <p:nvPr>
            <p:ph type="body" idx="1"/>
          </p:nvPr>
        </p:nvSpPr>
        <p:spPr>
          <a:xfrm>
            <a:off x="303207" y="3760327"/>
            <a:ext cx="3352606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3208" y="874419"/>
            <a:ext cx="3352606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5" y="7635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Shape 31">
            <a:extLst>
              <a:ext uri="{FF2B5EF4-FFF2-40B4-BE49-F238E27FC236}">
                <a16:creationId xmlns:a16="http://schemas.microsoft.com/office/drawing/2014/main" id="{9A83AEC6-A706-FC47-B198-2A14A976228C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4419695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502CF5C-C197-F04F-919F-9BA79BA4C8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9696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Shape 31">
            <a:extLst>
              <a:ext uri="{FF2B5EF4-FFF2-40B4-BE49-F238E27FC236}">
                <a16:creationId xmlns:a16="http://schemas.microsoft.com/office/drawing/2014/main" id="{A52F7FB9-02F3-194E-A37C-EC8FAADAD0F0}"/>
              </a:ext>
            </a:extLst>
          </p:cNvPr>
          <p:cNvSpPr txBox="1">
            <a:spLocks noGrp="1"/>
          </p:cNvSpPr>
          <p:nvPr>
            <p:ph type="body" idx="16"/>
          </p:nvPr>
        </p:nvSpPr>
        <p:spPr>
          <a:xfrm>
            <a:off x="8536186" y="3760327"/>
            <a:ext cx="3352605" cy="254394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CA48F88-7C6A-2F45-AA71-3CE981A176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36187" y="874419"/>
            <a:ext cx="3352605" cy="2277545"/>
          </a:xfrm>
        </p:spPr>
        <p:txBody>
          <a:bodyPr>
            <a:normAutofit/>
          </a:bodyPr>
          <a:lstStyle>
            <a:lvl1pPr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116AA7A-D917-A644-BB32-ABFD9BC8CCB8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0299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ullets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836783"/>
            <a:ext cx="11585575" cy="4504456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None/>
              <a:defRPr sz="18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600" b="0" i="0" baseline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0F62FE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400" b="0" i="0">
                <a:solidFill>
                  <a:srgbClr val="606060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61C29F"/>
              </a:buClr>
              <a:buSzPct val="100000"/>
              <a:buFont typeface="Quattrocento Sans"/>
              <a:defRPr sz="1200" b="0" i="0">
                <a:solidFill>
                  <a:srgbClr val="0F62FE"/>
                </a:solidFill>
                <a:latin typeface="Quattrocento Sans"/>
                <a:ea typeface="IBM Plex Sans" panose="020B0503050203000203" pitchFamily="34" charset="0"/>
                <a:cs typeface="IBM Plex Sans" panose="020B0503050203000203" pitchFamily="34" charset="0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r>
              <a:rPr lang="en-US" dirty="0"/>
              <a:t>Level Text</a:t>
            </a:r>
          </a:p>
          <a:p>
            <a:pPr lvl="1"/>
            <a:r>
              <a:rPr lang="en-US" dirty="0"/>
              <a:t>Level two bullet</a:t>
            </a:r>
          </a:p>
          <a:p>
            <a:pPr lvl="2"/>
            <a:r>
              <a:rPr lang="en-US" dirty="0"/>
              <a:t>Level three bullet</a:t>
            </a:r>
          </a:p>
          <a:p>
            <a:pPr lvl="4"/>
            <a:r>
              <a:rPr lang="en-US" b="0" i="0" dirty="0">
                <a:latin typeface="IBM Plex Sans" charset="0"/>
                <a:ea typeface="IBM Plex Sans" charset="0"/>
                <a:cs typeface="IBM Plex Sans" charset="0"/>
              </a:rPr>
              <a:t>Level four bull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1A20A0-C4C3-CB49-9FEF-69EAA14D2B2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8383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7" y="115902"/>
            <a:ext cx="11585576" cy="411480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399282B-D1E2-2544-968D-AA887B7AFB50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40921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A4AA8C-43C4-0B4A-99CA-748F4EA26671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5427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534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gradFill>
            <a:gsLst>
              <a:gs pos="34000">
                <a:srgbClr val="096BFE"/>
              </a:gs>
              <a:gs pos="79000">
                <a:srgbClr val="6F5496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37484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BD229B-1CF3-B634-DA61-98432B0F3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1D83F6-E776-11B5-A667-1FE3BDD69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E03E50-F7AE-CD1C-E34F-961EF4D5D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C0A92EA-B048-5524-9442-29F068C69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B16ADB-60DD-FF61-15E5-653C7196A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5404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187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rgbClr val="6F54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9EECF3-5ABC-6447-86FC-D32133E8F4CD}"/>
              </a:ext>
            </a:extLst>
          </p:cNvPr>
          <p:cNvSpPr txBox="1"/>
          <p:nvPr userDrawn="1"/>
        </p:nvSpPr>
        <p:spPr>
          <a:xfrm>
            <a:off x="650272" y="6451444"/>
            <a:ext cx="1552027" cy="406556"/>
          </a:xfrm>
          <a:prstGeom prst="rect">
            <a:avLst/>
          </a:prstGeom>
          <a:noFill/>
        </p:spPr>
        <p:txBody>
          <a:bodyPr wrap="none" tIns="120000" bIns="120000" rtlCol="0" anchor="t">
            <a:spAutoFit/>
          </a:bodyPr>
          <a:lstStyle/>
          <a:p>
            <a:pPr algn="ctr"/>
            <a:r>
              <a:rPr lang="en-US" sz="1067" b="0" i="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781213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8FBE5B9-1BED-BB48-BEB1-9276368BEAAA}"/>
              </a:ext>
            </a:extLst>
          </p:cNvPr>
          <p:cNvSpPr/>
          <p:nvPr userDrawn="1"/>
        </p:nvSpPr>
        <p:spPr>
          <a:xfrm>
            <a:off x="0" y="0"/>
            <a:ext cx="47751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493AE61-76F2-D54F-B21D-9AB7794D2CA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8757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subTitle" idx="1" hasCustomPrompt="1"/>
          </p:nvPr>
        </p:nvSpPr>
        <p:spPr>
          <a:xfrm>
            <a:off x="2879184" y="3679002"/>
            <a:ext cx="6904896" cy="104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buSzPct val="100000"/>
              <a:buNone/>
              <a:defRPr sz="2000" b="0" i="0" dirty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2pPr>
            <a:lvl3pPr lvl="2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3pPr>
            <a:lvl4pPr lvl="3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4pPr>
            <a:lvl5pPr lvl="4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5pPr>
            <a:lvl6pPr lvl="5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6pPr>
            <a:lvl7pPr lvl="6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7pPr>
            <a:lvl8pPr lvl="7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8pPr>
            <a:lvl9pPr lvl="8" rtl="0">
              <a:spcBef>
                <a:spcPts val="0"/>
              </a:spcBef>
              <a:buClr>
                <a:schemeClr val="dk2"/>
              </a:buClr>
              <a:buSzPct val="100000"/>
              <a:buNone/>
              <a:defRPr sz="1867">
                <a:solidFill>
                  <a:schemeClr val="dk2"/>
                </a:solidFill>
                <a:highlight>
                  <a:srgbClr val="FFCD00"/>
                </a:highlight>
              </a:defRPr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ctrTitle" hasCustomPrompt="1"/>
          </p:nvPr>
        </p:nvSpPr>
        <p:spPr>
          <a:xfrm>
            <a:off x="2879185" y="2132602"/>
            <a:ext cx="5050399" cy="15463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40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 rtl="0">
              <a:spcBef>
                <a:spcPts val="0"/>
              </a:spcBef>
              <a:buSzPct val="100000"/>
              <a:defRPr sz="4000"/>
            </a:lvl2pPr>
            <a:lvl3pPr lvl="2" rtl="0">
              <a:spcBef>
                <a:spcPts val="0"/>
              </a:spcBef>
              <a:buSzPct val="100000"/>
              <a:defRPr sz="4000"/>
            </a:lvl3pPr>
            <a:lvl4pPr lvl="3" rtl="0">
              <a:spcBef>
                <a:spcPts val="0"/>
              </a:spcBef>
              <a:buSzPct val="100000"/>
              <a:defRPr sz="4000"/>
            </a:lvl4pPr>
            <a:lvl5pPr lvl="4" rtl="0">
              <a:spcBef>
                <a:spcPts val="0"/>
              </a:spcBef>
              <a:buSzPct val="100000"/>
              <a:defRPr sz="4000"/>
            </a:lvl5pPr>
            <a:lvl6pPr lvl="5" rtl="0">
              <a:spcBef>
                <a:spcPts val="0"/>
              </a:spcBef>
              <a:buSzPct val="100000"/>
              <a:defRPr sz="4000"/>
            </a:lvl6pPr>
            <a:lvl7pPr lvl="6" rtl="0">
              <a:spcBef>
                <a:spcPts val="0"/>
              </a:spcBef>
              <a:buSzPct val="100000"/>
              <a:defRPr sz="4000"/>
            </a:lvl7pPr>
            <a:lvl8pPr lvl="7" rtl="0">
              <a:spcBef>
                <a:spcPts val="0"/>
              </a:spcBef>
              <a:buSzPct val="100000"/>
              <a:defRPr sz="4000"/>
            </a:lvl8pPr>
            <a:lvl9pPr lvl="8" rtl="0">
              <a:spcBef>
                <a:spcPts val="0"/>
              </a:spcBef>
              <a:buSzPct val="100000"/>
              <a:defRPr sz="4000"/>
            </a:lvl9pPr>
          </a:lstStyle>
          <a:p>
            <a:r>
              <a:rPr lang="en-US" dirty="0"/>
              <a:t>Transition Title</a:t>
            </a:r>
            <a:endParaRPr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B2E7AD-0E0C-284D-85DA-223A30AE4F2C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0020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 userDrawn="1"/>
        </p:nvSpPr>
        <p:spPr>
          <a:xfrm>
            <a:off x="2020188" y="125288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9320964" y="4651924"/>
            <a:ext cx="658368" cy="658368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384972" y="4601125"/>
            <a:ext cx="65836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”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060929" y="1188194"/>
            <a:ext cx="5768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12" name="Shape 19"/>
          <p:cNvSpPr txBox="1">
            <a:spLocks noGrp="1"/>
          </p:cNvSpPr>
          <p:nvPr>
            <p:ph type="body" idx="1" hasCustomPrompt="1"/>
          </p:nvPr>
        </p:nvSpPr>
        <p:spPr>
          <a:xfrm>
            <a:off x="2746647" y="1911252"/>
            <a:ext cx="6578400" cy="2740672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457189" lvl="0" indent="-457189" algn="ctr" rtl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3200" i="1">
                <a:solidFill>
                  <a:srgbClr val="60606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Quotation Text</a:t>
            </a:r>
            <a:endParaRPr dirty="0"/>
          </a:p>
        </p:txBody>
      </p:sp>
      <p:sp>
        <p:nvSpPr>
          <p:cNvPr id="19" name="Shape 19"/>
          <p:cNvSpPr txBox="1">
            <a:spLocks noGrp="1"/>
          </p:cNvSpPr>
          <p:nvPr>
            <p:ph type="body" idx="10" hasCustomPrompt="1"/>
          </p:nvPr>
        </p:nvSpPr>
        <p:spPr>
          <a:xfrm>
            <a:off x="4634951" y="4651423"/>
            <a:ext cx="2785731" cy="1018384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marL="342891" lvl="0" indent="-342891" algn="ctr" rtl="0">
              <a:spcBef>
                <a:spcPts val="0"/>
              </a:spcBef>
              <a:buSzPct val="100000"/>
              <a:buFont typeface="Lora"/>
              <a:buNone/>
              <a:defRPr sz="2400" b="0" i="0">
                <a:solidFill>
                  <a:srgbClr val="606060"/>
                </a:solidFill>
                <a:latin typeface="IBM Plex Sans Medium" charset="0"/>
                <a:ea typeface="IBM Plex Sans Medium" charset="0"/>
                <a:cs typeface="IBM Plex Sans Medium" charset="0"/>
                <a:sym typeface="Lora"/>
              </a:defRPr>
            </a:lvl1pPr>
            <a:lvl2pPr lvl="1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2pPr>
            <a:lvl3pPr lvl="2" algn="ctr" rtl="0">
              <a:spcBef>
                <a:spcPts val="0"/>
              </a:spcBef>
              <a:buFont typeface="Lora"/>
              <a:defRPr i="1">
                <a:latin typeface="Lora"/>
                <a:ea typeface="Lora"/>
                <a:cs typeface="Lora"/>
                <a:sym typeface="Lora"/>
              </a:defRPr>
            </a:lvl3pPr>
            <a:lvl4pPr lvl="3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4pPr>
            <a:lvl5pPr lvl="4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5pPr>
            <a:lvl6pPr lvl="5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6pPr>
            <a:lvl7pPr lvl="6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7pPr>
            <a:lvl8pPr lvl="7" algn="ctr" rtl="0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8pPr>
            <a:lvl9pPr lvl="8" algn="ctr">
              <a:spcBef>
                <a:spcPts val="0"/>
              </a:spcBef>
              <a:buSzPct val="100000"/>
              <a:buFont typeface="Lora"/>
              <a:defRPr sz="3200" i="1">
                <a:latin typeface="Lora"/>
                <a:ea typeface="Lora"/>
                <a:cs typeface="Lora"/>
                <a:sym typeface="Lor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ct val="100000"/>
              <a:tabLst/>
              <a:defRPr/>
            </a:pPr>
            <a:r>
              <a:rPr lang="en-US" dirty="0"/>
              <a:t>- John Doe</a:t>
            </a:r>
            <a:endParaRPr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24833B-3FDE-0646-BA4C-C77C5B7512DB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69209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+ Bullets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27"/>
          <p:cNvSpPr txBox="1">
            <a:spLocks noGrp="1"/>
          </p:cNvSpPr>
          <p:nvPr>
            <p:ph type="body" idx="1" hasCustomPrompt="1"/>
          </p:nvPr>
        </p:nvSpPr>
        <p:spPr>
          <a:xfrm>
            <a:off x="303218" y="1833613"/>
            <a:ext cx="11585575" cy="353007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189" lvl="0" indent="-457189" rtl="0">
              <a:spcBef>
                <a:spcPts val="80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1pPr>
            <a:lvl2pPr marL="685783" lvl="1" indent="-228594" rtl="0">
              <a:spcBef>
                <a:spcPts val="640"/>
              </a:spcBef>
              <a:buClr>
                <a:srgbClr val="61C29F"/>
              </a:buClr>
              <a:buSzPct val="100000"/>
              <a:buFont typeface="Arial" charset="0"/>
              <a:buChar char="•"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  <a:sym typeface="Quattrocento Sans"/>
              </a:defRPr>
            </a:lvl2pPr>
            <a:lvl3pPr lvl="2" rtl="0">
              <a:spcBef>
                <a:spcPts val="640"/>
              </a:spcBef>
              <a:buClr>
                <a:srgbClr val="FFCD00"/>
              </a:buClr>
              <a:buSzPct val="100000"/>
              <a:buFont typeface="Quattrocento Sans"/>
              <a:defRPr sz="2667"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lvl="3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lvl="4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lvl="5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lvl="6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lvl="7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lvl="8" rtl="0">
              <a:spcBef>
                <a:spcPts val="480"/>
              </a:spcBef>
              <a:buClr>
                <a:srgbClr val="FFCD00"/>
              </a:buClr>
              <a:buSzPct val="100000"/>
              <a:buFont typeface="Quattrocento Sans"/>
              <a:defRPr sz="2400"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  <a:p>
            <a:pPr lvl="1"/>
            <a:r>
              <a:rPr lang="en-US" sz="1800" b="0" i="0" dirty="0">
                <a:latin typeface="Helvetica Neue" charset="0"/>
                <a:ea typeface="Helvetica Neue" charset="0"/>
                <a:cs typeface="Helvetica Neue" charset="0"/>
              </a:rPr>
              <a:t>Level two bullet</a:t>
            </a:r>
          </a:p>
          <a:p>
            <a:pPr lvl="1"/>
            <a:r>
              <a:rPr lang="en-US" dirty="0"/>
              <a:t>Level two bullet</a:t>
            </a:r>
          </a:p>
          <a:p>
            <a:pPr lvl="0"/>
            <a:r>
              <a:rPr lang="en-US" dirty="0"/>
              <a:t>Level one bulle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03218" y="833355"/>
            <a:ext cx="7216775" cy="677863"/>
          </a:xfrm>
        </p:spPr>
        <p:txBody>
          <a:bodyPr>
            <a:normAutofit/>
          </a:bodyPr>
          <a:lstStyle>
            <a:lvl1pPr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E76C2"/>
              </a:buClr>
              <a:buSzTx/>
              <a:buFont typeface="Arial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77ED3A2-748C-6945-9927-CB2ED4B3F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85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659834" y="1246204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68200" y="1282164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65376" y="2797751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659834" y="4443008"/>
            <a:ext cx="595141" cy="595141"/>
          </a:xfrm>
          <a:prstGeom prst="ellipse">
            <a:avLst/>
          </a:prstGeom>
          <a:solidFill>
            <a:srgbClr val="BE9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68412" y="28337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447896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27" name="Shape 31"/>
          <p:cNvSpPr txBox="1">
            <a:spLocks noGrp="1"/>
          </p:cNvSpPr>
          <p:nvPr>
            <p:ph type="body" idx="1"/>
          </p:nvPr>
        </p:nvSpPr>
        <p:spPr>
          <a:xfrm>
            <a:off x="1476510" y="1732307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hape 31"/>
          <p:cNvSpPr txBox="1">
            <a:spLocks noGrp="1"/>
          </p:cNvSpPr>
          <p:nvPr>
            <p:ph type="body" idx="11"/>
          </p:nvPr>
        </p:nvSpPr>
        <p:spPr>
          <a:xfrm>
            <a:off x="1476510" y="3288065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Shape 31"/>
          <p:cNvSpPr txBox="1">
            <a:spLocks noGrp="1"/>
          </p:cNvSpPr>
          <p:nvPr>
            <p:ph type="body" idx="34"/>
          </p:nvPr>
        </p:nvSpPr>
        <p:spPr>
          <a:xfrm>
            <a:off x="1476510" y="4927483"/>
            <a:ext cx="9893907" cy="941352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0F62FE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hape 31"/>
          <p:cNvSpPr txBox="1">
            <a:spLocks noGrp="1"/>
          </p:cNvSpPr>
          <p:nvPr>
            <p:ph type="body" idx="13" hasCustomPrompt="1"/>
          </p:nvPr>
        </p:nvSpPr>
        <p:spPr>
          <a:xfrm>
            <a:off x="1476509" y="1258787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1476509" y="2810333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2" name="Shape 31"/>
          <p:cNvSpPr txBox="1">
            <a:spLocks noGrp="1"/>
          </p:cNvSpPr>
          <p:nvPr>
            <p:ph type="body" idx="15" hasCustomPrompt="1"/>
          </p:nvPr>
        </p:nvSpPr>
        <p:spPr>
          <a:xfrm>
            <a:off x="1476509" y="4455590"/>
            <a:ext cx="9893907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82676189-B55D-BA46-9B0A-E263F4CA39C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5650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List + 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 userDrawn="1"/>
        </p:nvSpPr>
        <p:spPr>
          <a:xfrm>
            <a:off x="483372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591739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3" name="Oval 32"/>
          <p:cNvSpPr/>
          <p:nvPr userDrawn="1"/>
        </p:nvSpPr>
        <p:spPr>
          <a:xfrm>
            <a:off x="483372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86408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6017740" y="1198079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6126108" y="123403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7" name="Oval 36"/>
          <p:cNvSpPr/>
          <p:nvPr userDrawn="1"/>
        </p:nvSpPr>
        <p:spPr>
          <a:xfrm>
            <a:off x="6017740" y="3841331"/>
            <a:ext cx="595141" cy="5951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6120776" y="3861248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39" name="Shape 31"/>
          <p:cNvSpPr txBox="1">
            <a:spLocks noGrp="1"/>
          </p:cNvSpPr>
          <p:nvPr>
            <p:ph type="body" idx="35"/>
          </p:nvPr>
        </p:nvSpPr>
        <p:spPr>
          <a:xfrm>
            <a:off x="1302998" y="1698089"/>
            <a:ext cx="4351399" cy="18312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Shape 31"/>
          <p:cNvSpPr txBox="1">
            <a:spLocks noGrp="1"/>
          </p:cNvSpPr>
          <p:nvPr>
            <p:ph type="body" idx="36" hasCustomPrompt="1"/>
          </p:nvPr>
        </p:nvSpPr>
        <p:spPr>
          <a:xfrm>
            <a:off x="1302997" y="1224570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1" name="Shape 31"/>
          <p:cNvSpPr txBox="1">
            <a:spLocks noGrp="1"/>
          </p:cNvSpPr>
          <p:nvPr>
            <p:ph type="body" idx="37"/>
          </p:nvPr>
        </p:nvSpPr>
        <p:spPr>
          <a:xfrm>
            <a:off x="1291153" y="4314849"/>
            <a:ext cx="4351399" cy="1685824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291151" y="3841331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3" name="Shape 31"/>
          <p:cNvSpPr txBox="1">
            <a:spLocks noGrp="1"/>
          </p:cNvSpPr>
          <p:nvPr>
            <p:ph type="body" idx="39"/>
          </p:nvPr>
        </p:nvSpPr>
        <p:spPr>
          <a:xfrm>
            <a:off x="6828874" y="4339898"/>
            <a:ext cx="4351399" cy="1660777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6828873" y="386637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45" name="Shape 31"/>
          <p:cNvSpPr txBox="1">
            <a:spLocks noGrp="1"/>
          </p:cNvSpPr>
          <p:nvPr>
            <p:ph type="body" idx="41"/>
          </p:nvPr>
        </p:nvSpPr>
        <p:spPr>
          <a:xfrm>
            <a:off x="6828873" y="1695019"/>
            <a:ext cx="4351399" cy="1862411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accent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6828871" y="1221499"/>
            <a:ext cx="4351399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chemeClr val="tx2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706D2B1-A360-B341-ADB5-E352056AA997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3251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8" name="Oval 27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68412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35620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464571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6361747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Oval 47"/>
          <p:cNvSpPr/>
          <p:nvPr userDrawn="1"/>
        </p:nvSpPr>
        <p:spPr>
          <a:xfrm>
            <a:off x="635620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6464783" y="289787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6464571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51" name="Shape 31"/>
          <p:cNvSpPr txBox="1">
            <a:spLocks noGrp="1"/>
          </p:cNvSpPr>
          <p:nvPr>
            <p:ph type="body" idx="37"/>
          </p:nvPr>
        </p:nvSpPr>
        <p:spPr>
          <a:xfrm>
            <a:off x="1470969" y="1808941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Shape 31"/>
          <p:cNvSpPr txBox="1">
            <a:spLocks noGrp="1"/>
          </p:cNvSpPr>
          <p:nvPr>
            <p:ph type="body" idx="38" hasCustomPrompt="1"/>
          </p:nvPr>
        </p:nvSpPr>
        <p:spPr>
          <a:xfrm>
            <a:off x="1470967" y="1335421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3" name="Shape 31"/>
          <p:cNvSpPr txBox="1">
            <a:spLocks noGrp="1"/>
          </p:cNvSpPr>
          <p:nvPr>
            <p:ph type="body" idx="39"/>
          </p:nvPr>
        </p:nvSpPr>
        <p:spPr>
          <a:xfrm>
            <a:off x="7172881" y="1808127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0" hasCustomPrompt="1"/>
          </p:nvPr>
        </p:nvSpPr>
        <p:spPr>
          <a:xfrm>
            <a:off x="7172879" y="1334607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5" name="Shape 31"/>
          <p:cNvSpPr txBox="1">
            <a:spLocks noGrp="1"/>
          </p:cNvSpPr>
          <p:nvPr>
            <p:ph type="body" idx="41"/>
          </p:nvPr>
        </p:nvSpPr>
        <p:spPr>
          <a:xfrm>
            <a:off x="1487010" y="3375309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Shape 31"/>
          <p:cNvSpPr txBox="1">
            <a:spLocks noGrp="1"/>
          </p:cNvSpPr>
          <p:nvPr>
            <p:ph type="body" idx="42" hasCustomPrompt="1"/>
          </p:nvPr>
        </p:nvSpPr>
        <p:spPr>
          <a:xfrm>
            <a:off x="1487009" y="2901789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7" name="Shape 31"/>
          <p:cNvSpPr txBox="1">
            <a:spLocks noGrp="1"/>
          </p:cNvSpPr>
          <p:nvPr>
            <p:ph type="body" idx="43"/>
          </p:nvPr>
        </p:nvSpPr>
        <p:spPr>
          <a:xfrm>
            <a:off x="7188922" y="3374495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7188921" y="2900975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9" name="Shape 31"/>
          <p:cNvSpPr txBox="1">
            <a:spLocks noGrp="1"/>
          </p:cNvSpPr>
          <p:nvPr>
            <p:ph type="body" idx="45"/>
          </p:nvPr>
        </p:nvSpPr>
        <p:spPr>
          <a:xfrm>
            <a:off x="1487010" y="5021786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Shape 31"/>
          <p:cNvSpPr txBox="1">
            <a:spLocks noGrp="1"/>
          </p:cNvSpPr>
          <p:nvPr>
            <p:ph type="body" idx="46" hasCustomPrompt="1"/>
          </p:nvPr>
        </p:nvSpPr>
        <p:spPr>
          <a:xfrm>
            <a:off x="1487009" y="4548266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1" name="Shape 31"/>
          <p:cNvSpPr txBox="1">
            <a:spLocks noGrp="1"/>
          </p:cNvSpPr>
          <p:nvPr>
            <p:ph type="body" idx="47"/>
          </p:nvPr>
        </p:nvSpPr>
        <p:spPr>
          <a:xfrm>
            <a:off x="7188922" y="5020973"/>
            <a:ext cx="4288148" cy="85822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Shape 31"/>
          <p:cNvSpPr txBox="1">
            <a:spLocks noGrp="1"/>
          </p:cNvSpPr>
          <p:nvPr>
            <p:ph type="body" idx="48" hasCustomPrompt="1"/>
          </p:nvPr>
        </p:nvSpPr>
        <p:spPr>
          <a:xfrm>
            <a:off x="7188921" y="4547453"/>
            <a:ext cx="4288148" cy="471892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8E632A6B-9810-4B43-8526-A670C64BFF09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067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List + Subtitle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487595" y="109985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595962" y="113580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486503" y="23324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80960" y="359686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607827" y="235008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589327" y="363282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504883" y="489383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613250" y="4929797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4</a:t>
            </a:r>
          </a:p>
        </p:txBody>
      </p:sp>
      <p:sp>
        <p:nvSpPr>
          <p:cNvPr id="41" name="Oval 40"/>
          <p:cNvSpPr/>
          <p:nvPr userDrawn="1"/>
        </p:nvSpPr>
        <p:spPr>
          <a:xfrm>
            <a:off x="6201908" y="109689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6310276" y="113285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5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200816" y="232945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4" name="Oval 43"/>
          <p:cNvSpPr/>
          <p:nvPr userDrawn="1"/>
        </p:nvSpPr>
        <p:spPr>
          <a:xfrm>
            <a:off x="6195274" y="3593911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6303852" y="2365416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6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6303640" y="362986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7</a:t>
            </a:r>
          </a:p>
        </p:txBody>
      </p:sp>
      <p:sp>
        <p:nvSpPr>
          <p:cNvPr id="63" name="Oval 62"/>
          <p:cNvSpPr/>
          <p:nvPr userDrawn="1"/>
        </p:nvSpPr>
        <p:spPr>
          <a:xfrm>
            <a:off x="6219196" y="4890884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6327564" y="4926843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8</a:t>
            </a:r>
          </a:p>
        </p:txBody>
      </p:sp>
      <p:sp>
        <p:nvSpPr>
          <p:cNvPr id="65" name="Shape 31"/>
          <p:cNvSpPr txBox="1">
            <a:spLocks noGrp="1"/>
          </p:cNvSpPr>
          <p:nvPr>
            <p:ph type="body" idx="43"/>
          </p:nvPr>
        </p:nvSpPr>
        <p:spPr>
          <a:xfrm>
            <a:off x="1298730" y="151525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Shape 31"/>
          <p:cNvSpPr txBox="1">
            <a:spLocks noGrp="1"/>
          </p:cNvSpPr>
          <p:nvPr>
            <p:ph type="body" idx="44" hasCustomPrompt="1"/>
          </p:nvPr>
        </p:nvSpPr>
        <p:spPr>
          <a:xfrm>
            <a:off x="1298729" y="112194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7" name="Shape 31"/>
          <p:cNvSpPr txBox="1">
            <a:spLocks noGrp="1"/>
          </p:cNvSpPr>
          <p:nvPr>
            <p:ph type="body" idx="59"/>
          </p:nvPr>
        </p:nvSpPr>
        <p:spPr>
          <a:xfrm>
            <a:off x="1292094" y="274288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Shape 31"/>
          <p:cNvSpPr txBox="1">
            <a:spLocks noGrp="1"/>
          </p:cNvSpPr>
          <p:nvPr>
            <p:ph type="body" idx="60" hasCustomPrompt="1"/>
          </p:nvPr>
        </p:nvSpPr>
        <p:spPr>
          <a:xfrm>
            <a:off x="1292093" y="236561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69" name="Shape 31"/>
          <p:cNvSpPr txBox="1">
            <a:spLocks noGrp="1"/>
          </p:cNvSpPr>
          <p:nvPr>
            <p:ph type="body" idx="61"/>
          </p:nvPr>
        </p:nvSpPr>
        <p:spPr>
          <a:xfrm>
            <a:off x="1298729" y="4000161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Shape 31"/>
          <p:cNvSpPr txBox="1">
            <a:spLocks noGrp="1"/>
          </p:cNvSpPr>
          <p:nvPr>
            <p:ph type="body" idx="62" hasCustomPrompt="1"/>
          </p:nvPr>
        </p:nvSpPr>
        <p:spPr>
          <a:xfrm>
            <a:off x="1298727" y="3622893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1" name="Shape 31"/>
          <p:cNvSpPr txBox="1">
            <a:spLocks noGrp="1"/>
          </p:cNvSpPr>
          <p:nvPr>
            <p:ph type="body" idx="63"/>
          </p:nvPr>
        </p:nvSpPr>
        <p:spPr>
          <a:xfrm>
            <a:off x="1298729" y="5283569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Shape 31"/>
          <p:cNvSpPr txBox="1">
            <a:spLocks noGrp="1"/>
          </p:cNvSpPr>
          <p:nvPr>
            <p:ph type="body" idx="64" hasCustomPrompt="1"/>
          </p:nvPr>
        </p:nvSpPr>
        <p:spPr>
          <a:xfrm>
            <a:off x="1298727" y="4906301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3" name="Shape 31"/>
          <p:cNvSpPr txBox="1">
            <a:spLocks noGrp="1"/>
          </p:cNvSpPr>
          <p:nvPr>
            <p:ph type="body" idx="65"/>
          </p:nvPr>
        </p:nvSpPr>
        <p:spPr>
          <a:xfrm>
            <a:off x="7035874" y="1515877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Shape 31"/>
          <p:cNvSpPr txBox="1">
            <a:spLocks noGrp="1"/>
          </p:cNvSpPr>
          <p:nvPr>
            <p:ph type="body" idx="66" hasCustomPrompt="1"/>
          </p:nvPr>
        </p:nvSpPr>
        <p:spPr>
          <a:xfrm>
            <a:off x="7035873" y="112256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5" name="Shape 31"/>
          <p:cNvSpPr txBox="1">
            <a:spLocks noGrp="1"/>
          </p:cNvSpPr>
          <p:nvPr>
            <p:ph type="body" idx="67"/>
          </p:nvPr>
        </p:nvSpPr>
        <p:spPr>
          <a:xfrm>
            <a:off x="7029238" y="274350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Shape 31"/>
          <p:cNvSpPr txBox="1">
            <a:spLocks noGrp="1"/>
          </p:cNvSpPr>
          <p:nvPr>
            <p:ph type="body" idx="68" hasCustomPrompt="1"/>
          </p:nvPr>
        </p:nvSpPr>
        <p:spPr>
          <a:xfrm>
            <a:off x="7029237" y="2366236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7" name="Shape 31"/>
          <p:cNvSpPr txBox="1">
            <a:spLocks noGrp="1"/>
          </p:cNvSpPr>
          <p:nvPr>
            <p:ph type="body" idx="69"/>
          </p:nvPr>
        </p:nvSpPr>
        <p:spPr>
          <a:xfrm>
            <a:off x="7035873" y="4000785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Shape 31"/>
          <p:cNvSpPr txBox="1">
            <a:spLocks noGrp="1"/>
          </p:cNvSpPr>
          <p:nvPr>
            <p:ph type="body" idx="70" hasCustomPrompt="1"/>
          </p:nvPr>
        </p:nvSpPr>
        <p:spPr>
          <a:xfrm>
            <a:off x="7035871" y="3623517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79" name="Shape 31"/>
          <p:cNvSpPr txBox="1">
            <a:spLocks noGrp="1"/>
          </p:cNvSpPr>
          <p:nvPr>
            <p:ph type="body" idx="71"/>
          </p:nvPr>
        </p:nvSpPr>
        <p:spPr>
          <a:xfrm>
            <a:off x="7035873" y="5284193"/>
            <a:ext cx="4493228" cy="66985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Shape 31"/>
          <p:cNvSpPr txBox="1">
            <a:spLocks noGrp="1"/>
          </p:cNvSpPr>
          <p:nvPr>
            <p:ph type="body" idx="72" hasCustomPrompt="1"/>
          </p:nvPr>
        </p:nvSpPr>
        <p:spPr>
          <a:xfrm>
            <a:off x="7035871" y="4906925"/>
            <a:ext cx="4493228" cy="38186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SUBTITLE</a:t>
            </a:r>
            <a:endParaRPr dirty="0"/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id="{E47F0787-13C4-0B49-8EB0-300773870C2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8262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2EFA8-86F7-5C31-5104-2B65D8041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99DDD42-FE2D-D642-E110-28A55F33B8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CB5C9A-7214-BCB4-B9BE-92704796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A1B8953-B924-11B7-DBFD-A8DFF3195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C1870E9-08A1-92E7-76BB-5C5393374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5234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st">
    <p:bg>
      <p:bgPr>
        <a:solidFill>
          <a:schemeClr val="bg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/>
          <p:cNvSpPr/>
          <p:nvPr userDrawn="1"/>
        </p:nvSpPr>
        <p:spPr>
          <a:xfrm>
            <a:off x="659834" y="1310372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768200" y="1346332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1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665376" y="2861919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659834" y="4507176"/>
            <a:ext cx="595141" cy="595141"/>
          </a:xfrm>
          <a:prstGeom prst="ellipse">
            <a:avLst/>
          </a:prstGeom>
          <a:solidFill>
            <a:srgbClr val="61C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68412" y="2879589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2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768200" y="4543135"/>
            <a:ext cx="403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i="0" dirty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3</a:t>
            </a:r>
          </a:p>
        </p:txBody>
      </p:sp>
      <p:sp>
        <p:nvSpPr>
          <p:cNvPr id="53" name="Shape 31"/>
          <p:cNvSpPr txBox="1">
            <a:spLocks noGrp="1"/>
          </p:cNvSpPr>
          <p:nvPr>
            <p:ph type="body" idx="43"/>
          </p:nvPr>
        </p:nvSpPr>
        <p:spPr>
          <a:xfrm>
            <a:off x="1363341" y="1326414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Shape 31"/>
          <p:cNvSpPr txBox="1">
            <a:spLocks noGrp="1"/>
          </p:cNvSpPr>
          <p:nvPr>
            <p:ph type="body" idx="44"/>
          </p:nvPr>
        </p:nvSpPr>
        <p:spPr>
          <a:xfrm>
            <a:off x="1379383" y="2861918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Shape 31"/>
          <p:cNvSpPr txBox="1">
            <a:spLocks noGrp="1"/>
          </p:cNvSpPr>
          <p:nvPr>
            <p:ph type="body" idx="45"/>
          </p:nvPr>
        </p:nvSpPr>
        <p:spPr>
          <a:xfrm>
            <a:off x="1379383" y="4507175"/>
            <a:ext cx="9893907" cy="925311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70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3218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C2C29879-693B-0E4E-97BB-C12E79899946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362239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edback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31"/>
          <p:cNvSpPr txBox="1">
            <a:spLocks noGrp="1"/>
          </p:cNvSpPr>
          <p:nvPr>
            <p:ph type="body" idx="11"/>
          </p:nvPr>
        </p:nvSpPr>
        <p:spPr>
          <a:xfrm>
            <a:off x="303217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hape 31"/>
          <p:cNvSpPr txBox="1">
            <a:spLocks noGrp="1"/>
          </p:cNvSpPr>
          <p:nvPr>
            <p:ph type="body" idx="14" hasCustomPrompt="1"/>
          </p:nvPr>
        </p:nvSpPr>
        <p:spPr>
          <a:xfrm>
            <a:off x="303217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0" name="Shape 31"/>
          <p:cNvSpPr txBox="1">
            <a:spLocks noGrp="1"/>
          </p:cNvSpPr>
          <p:nvPr>
            <p:ph type="body" idx="15"/>
          </p:nvPr>
        </p:nvSpPr>
        <p:spPr>
          <a:xfrm>
            <a:off x="3347673" y="2689119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 31"/>
          <p:cNvSpPr txBox="1">
            <a:spLocks noGrp="1"/>
          </p:cNvSpPr>
          <p:nvPr>
            <p:ph type="body" idx="16" hasCustomPrompt="1"/>
          </p:nvPr>
        </p:nvSpPr>
        <p:spPr>
          <a:xfrm>
            <a:off x="3347673" y="4693263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2" name="Shape 31"/>
          <p:cNvSpPr txBox="1">
            <a:spLocks noGrp="1"/>
          </p:cNvSpPr>
          <p:nvPr>
            <p:ph type="body" idx="17"/>
          </p:nvPr>
        </p:nvSpPr>
        <p:spPr>
          <a:xfrm>
            <a:off x="6392129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hape 31"/>
          <p:cNvSpPr txBox="1">
            <a:spLocks noGrp="1"/>
          </p:cNvSpPr>
          <p:nvPr>
            <p:ph type="body" idx="18" hasCustomPrompt="1"/>
          </p:nvPr>
        </p:nvSpPr>
        <p:spPr>
          <a:xfrm>
            <a:off x="6392129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24" name="Shape 31"/>
          <p:cNvSpPr txBox="1">
            <a:spLocks noGrp="1"/>
          </p:cNvSpPr>
          <p:nvPr>
            <p:ph type="body" idx="19"/>
          </p:nvPr>
        </p:nvSpPr>
        <p:spPr>
          <a:xfrm>
            <a:off x="9436585" y="2675310"/>
            <a:ext cx="2452207" cy="201631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8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hape 31"/>
          <p:cNvSpPr txBox="1">
            <a:spLocks noGrp="1"/>
          </p:cNvSpPr>
          <p:nvPr>
            <p:ph type="body" idx="20" hasCustomPrompt="1"/>
          </p:nvPr>
        </p:nvSpPr>
        <p:spPr>
          <a:xfrm>
            <a:off x="9436585" y="4700719"/>
            <a:ext cx="2452207" cy="47520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>
              <a:spcBef>
                <a:spcPts val="0"/>
              </a:spcBef>
              <a:buClr>
                <a:srgbClr val="3E76C2"/>
              </a:buClr>
              <a:buSzPct val="100000"/>
              <a:buFont typeface="Arial" charset="0"/>
              <a:buNone/>
              <a:defRPr sz="1600" b="0" i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buSzPct val="100000"/>
              <a:defRPr sz="2667"/>
            </a:lvl4pPr>
            <a:lvl5pPr lvl="4">
              <a:spcBef>
                <a:spcPts val="0"/>
              </a:spcBef>
              <a:buSzPct val="100000"/>
              <a:defRPr sz="2667"/>
            </a:lvl5pPr>
            <a:lvl6pPr lvl="5">
              <a:spcBef>
                <a:spcPts val="0"/>
              </a:spcBef>
              <a:buSzPct val="100000"/>
              <a:defRPr sz="2667"/>
            </a:lvl6pPr>
            <a:lvl7pPr lvl="6">
              <a:spcBef>
                <a:spcPts val="0"/>
              </a:spcBef>
              <a:buSzPct val="100000"/>
              <a:defRPr sz="2667"/>
            </a:lvl7pPr>
            <a:lvl8pPr lvl="7">
              <a:spcBef>
                <a:spcPts val="0"/>
              </a:spcBef>
              <a:buSzPct val="100000"/>
              <a:defRPr sz="2667"/>
            </a:lvl8pPr>
            <a:lvl9pPr lvl="8">
              <a:spcBef>
                <a:spcPts val="0"/>
              </a:spcBef>
              <a:buSzPct val="100000"/>
              <a:defRPr sz="2667"/>
            </a:lvl9pPr>
          </a:lstStyle>
          <a:p>
            <a:r>
              <a:rPr lang="en-US" dirty="0"/>
              <a:t>Author</a:t>
            </a:r>
            <a:endParaRPr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3216" y="164669"/>
            <a:ext cx="11585576" cy="379412"/>
          </a:xfrm>
        </p:spPr>
        <p:txBody>
          <a:bodyPr/>
          <a:lstStyle>
            <a:lvl1pPr>
              <a:buNone/>
              <a:defRPr sz="1800" b="0" i="0" baseline="0">
                <a:solidFill>
                  <a:srgbClr val="606060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pPr lvl="0"/>
            <a:r>
              <a:rPr lang="en-US" dirty="0"/>
              <a:t>Slide titl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303217" y="553728"/>
            <a:ext cx="1158557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Oval 30"/>
          <p:cNvSpPr/>
          <p:nvPr userDrawn="1"/>
        </p:nvSpPr>
        <p:spPr>
          <a:xfrm>
            <a:off x="303216" y="1672522"/>
            <a:ext cx="733793" cy="7337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343956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3322635" y="1672522"/>
            <a:ext cx="733793" cy="7337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36337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38" name="Oval 37"/>
          <p:cNvSpPr/>
          <p:nvPr userDrawn="1"/>
        </p:nvSpPr>
        <p:spPr>
          <a:xfrm>
            <a:off x="6377080" y="1672522"/>
            <a:ext cx="733793" cy="7337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6417820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40" name="Oval 39"/>
          <p:cNvSpPr/>
          <p:nvPr userDrawn="1"/>
        </p:nvSpPr>
        <p:spPr>
          <a:xfrm>
            <a:off x="9431525" y="1672522"/>
            <a:ext cx="733793" cy="7337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0" i="0" dirty="0"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9472265" y="1607832"/>
            <a:ext cx="64297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i="0" dirty="0">
                <a:solidFill>
                  <a:schemeClr val="bg1"/>
                </a:solidFill>
                <a:latin typeface="Times New Roman" charset="0"/>
                <a:ea typeface="Times New Roman" charset="0"/>
                <a:cs typeface="Times New Roman" charset="0"/>
              </a:rPr>
              <a:t>“</a:t>
            </a: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682D3DF-39CE-2248-A0DC-5F21CF69434F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6473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Questions?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7D1EAEB-2437-A04A-B9D8-EA84FF80D994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3016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9285" y="5110983"/>
            <a:ext cx="1105403" cy="70008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557334" y="5922208"/>
            <a:ext cx="5069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0" dirty="0">
                <a:latin typeface="IBM Plex Sans Medium" charset="0"/>
                <a:ea typeface="IBM Plex Sans Medium" charset="0"/>
                <a:cs typeface="IBM Plex Sans Medium" charset="0"/>
              </a:rPr>
              <a:t>Thank You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64764F1-ACE4-AC42-9CF5-CBDF23C02AD3}"/>
              </a:ext>
            </a:extLst>
          </p:cNvPr>
          <p:cNvSpPr txBox="1">
            <a:spLocks/>
          </p:cNvSpPr>
          <p:nvPr userDrawn="1"/>
        </p:nvSpPr>
        <p:spPr>
          <a:xfrm>
            <a:off x="142667" y="6531141"/>
            <a:ext cx="648863" cy="259029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008AA6-052F-3B41-B117-10C8A03842B4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933450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5535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BE95FF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68999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4620126"/>
          </a:xfrm>
          <a:prstGeom prst="rect">
            <a:avLst/>
          </a:prstGeom>
          <a:solidFill>
            <a:srgbClr val="3351C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9397" y="0"/>
            <a:ext cx="6834022" cy="63860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9"/>
          <p:cNvSpPr txBox="1">
            <a:spLocks noGrp="1"/>
          </p:cNvSpPr>
          <p:nvPr>
            <p:ph type="ctrTitle"/>
          </p:nvPr>
        </p:nvSpPr>
        <p:spPr>
          <a:xfrm>
            <a:off x="1091698" y="1122946"/>
            <a:ext cx="9940095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9" name="Text Placehold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92200" y="3035300"/>
            <a:ext cx="499586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28549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" name="Group 1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grpSp>
          <p:nvGrpSpPr>
            <p:cNvPr id="495" name="Group 59"/>
            <p:cNvGrpSpPr/>
            <p:nvPr/>
          </p:nvGrpSpPr>
          <p:grpSpPr>
            <a:xfrm>
              <a:off x="903906" y="-1"/>
              <a:ext cx="23164620" cy="243842"/>
              <a:chOff x="0" y="0"/>
              <a:chExt cx="23164618" cy="243840"/>
            </a:xfrm>
          </p:grpSpPr>
          <p:sp>
            <p:nvSpPr>
              <p:cNvPr id="484" name="Straight Connector 92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5" name="Straight Connector 93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6" name="Straight Connector 94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7" name="Straight Connector 95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8" name="Straight Connector 96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89" name="Straight Connector 97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0" name="Straight Connector 98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1" name="Straight Connector 99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2" name="Straight Connector 100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3" name="Straight Connector 101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4" name="Straight Connector 102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07" name="Group 60"/>
            <p:cNvGrpSpPr/>
            <p:nvPr/>
          </p:nvGrpSpPr>
          <p:grpSpPr>
            <a:xfrm>
              <a:off x="903906" y="14061440"/>
              <a:ext cx="23164620" cy="243841"/>
              <a:chOff x="0" y="0"/>
              <a:chExt cx="23164618" cy="243840"/>
            </a:xfrm>
          </p:grpSpPr>
          <p:sp>
            <p:nvSpPr>
              <p:cNvPr id="496" name="Straight Connector 81"/>
              <p:cNvSpPr/>
              <p:nvPr/>
            </p:nvSpPr>
            <p:spPr>
              <a:xfrm flipV="1">
                <a:off x="-1" y="-1"/>
                <a:ext cx="2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7" name="Straight Connector 82"/>
              <p:cNvSpPr/>
              <p:nvPr/>
            </p:nvSpPr>
            <p:spPr>
              <a:xfrm flipV="1">
                <a:off x="4876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8" name="Straight Connector 83"/>
              <p:cNvSpPr/>
              <p:nvPr/>
            </p:nvSpPr>
            <p:spPr>
              <a:xfrm flipV="1">
                <a:off x="5486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499" name="Straight Connector 84"/>
              <p:cNvSpPr/>
              <p:nvPr/>
            </p:nvSpPr>
            <p:spPr>
              <a:xfrm flipV="1">
                <a:off x="6096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0" name="Straight Connector 85"/>
              <p:cNvSpPr/>
              <p:nvPr/>
            </p:nvSpPr>
            <p:spPr>
              <a:xfrm flipV="1">
                <a:off x="10972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1" name="Straight Connector 86"/>
              <p:cNvSpPr/>
              <p:nvPr/>
            </p:nvSpPr>
            <p:spPr>
              <a:xfrm flipV="1">
                <a:off x="115824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2" name="Straight Connector 87"/>
              <p:cNvSpPr/>
              <p:nvPr/>
            </p:nvSpPr>
            <p:spPr>
              <a:xfrm flipV="1">
                <a:off x="121920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3" name="Straight Connector 88"/>
              <p:cNvSpPr/>
              <p:nvPr/>
            </p:nvSpPr>
            <p:spPr>
              <a:xfrm flipV="1">
                <a:off x="17068800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4" name="Straight Connector 89"/>
              <p:cNvSpPr/>
              <p:nvPr/>
            </p:nvSpPr>
            <p:spPr>
              <a:xfrm flipV="1">
                <a:off x="176784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5" name="Straight Connector 90"/>
              <p:cNvSpPr/>
              <p:nvPr/>
            </p:nvSpPr>
            <p:spPr>
              <a:xfrm flipV="1">
                <a:off x="18288001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6" name="Straight Connector 91"/>
              <p:cNvSpPr/>
              <p:nvPr/>
            </p:nvSpPr>
            <p:spPr>
              <a:xfrm flipV="1">
                <a:off x="23164618" y="-1"/>
                <a:ext cx="1" cy="243842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17" name="Group 61"/>
            <p:cNvGrpSpPr/>
            <p:nvPr/>
          </p:nvGrpSpPr>
          <p:grpSpPr>
            <a:xfrm>
              <a:off x="-1" y="926930"/>
              <a:ext cx="243842" cy="12438551"/>
              <a:chOff x="0" y="0"/>
              <a:chExt cx="243840" cy="12438549"/>
            </a:xfrm>
          </p:grpSpPr>
          <p:sp>
            <p:nvSpPr>
              <p:cNvPr id="508" name="Straight Connector 72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09" name="Straight Connector 73"/>
              <p:cNvSpPr/>
              <p:nvPr/>
            </p:nvSpPr>
            <p:spPr>
              <a:xfrm flipH="1">
                <a:off x="0" y="280415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0" name="Straight Connector 74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1" name="Straight Connector 75"/>
              <p:cNvSpPr/>
              <p:nvPr/>
            </p:nvSpPr>
            <p:spPr>
              <a:xfrm flipH="1">
                <a:off x="0" y="622198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2" name="Straight Connector 76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3" name="Straight Connector 77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4" name="Straight Connector 78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5" name="Straight Connector 79"/>
              <p:cNvSpPr/>
              <p:nvPr/>
            </p:nvSpPr>
            <p:spPr>
              <a:xfrm flipH="1" flipV="1">
                <a:off x="0" y="-1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6" name="Straight Connector 80"/>
              <p:cNvSpPr/>
              <p:nvPr/>
            </p:nvSpPr>
            <p:spPr>
              <a:xfrm flipH="1">
                <a:off x="0" y="12438549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  <p:grpSp>
          <p:nvGrpSpPr>
            <p:cNvPr id="527" name="Group 62"/>
            <p:cNvGrpSpPr/>
            <p:nvPr/>
          </p:nvGrpSpPr>
          <p:grpSpPr>
            <a:xfrm>
              <a:off x="24727414" y="926930"/>
              <a:ext cx="243841" cy="12435842"/>
              <a:chOff x="0" y="0"/>
              <a:chExt cx="243840" cy="12435840"/>
            </a:xfrm>
          </p:grpSpPr>
          <p:sp>
            <p:nvSpPr>
              <p:cNvPr id="518" name="Straight Connector 63"/>
              <p:cNvSpPr/>
              <p:nvPr/>
            </p:nvSpPr>
            <p:spPr>
              <a:xfrm flipH="1">
                <a:off x="0" y="110947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19" name="Straight Connector 64"/>
              <p:cNvSpPr/>
              <p:nvPr/>
            </p:nvSpPr>
            <p:spPr>
              <a:xfrm flipH="1">
                <a:off x="0" y="280416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0" name="Straight Connector 65"/>
              <p:cNvSpPr/>
              <p:nvPr/>
            </p:nvSpPr>
            <p:spPr>
              <a:xfrm flipH="1">
                <a:off x="0" y="45110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1" name="Straight Connector 66"/>
              <p:cNvSpPr/>
              <p:nvPr/>
            </p:nvSpPr>
            <p:spPr>
              <a:xfrm flipH="1">
                <a:off x="0" y="621792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2" name="Straight Connector 67"/>
              <p:cNvSpPr/>
              <p:nvPr/>
            </p:nvSpPr>
            <p:spPr>
              <a:xfrm flipH="1">
                <a:off x="0" y="7924800"/>
                <a:ext cx="243841" cy="0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3" name="Straight Connector 68"/>
              <p:cNvSpPr/>
              <p:nvPr/>
            </p:nvSpPr>
            <p:spPr>
              <a:xfrm flipH="1">
                <a:off x="0" y="963168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4" name="Straight Connector 69"/>
              <p:cNvSpPr/>
              <p:nvPr/>
            </p:nvSpPr>
            <p:spPr>
              <a:xfrm flipH="1">
                <a:off x="0" y="11350752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5" name="Straight Connector 70"/>
              <p:cNvSpPr/>
              <p:nvPr/>
            </p:nvSpPr>
            <p:spPr>
              <a:xfrm flipH="1" flipV="1">
                <a:off x="0" y="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  <p:sp>
            <p:nvSpPr>
              <p:cNvPr id="526" name="Straight Connector 71"/>
              <p:cNvSpPr/>
              <p:nvPr/>
            </p:nvSpPr>
            <p:spPr>
              <a:xfrm flipH="1">
                <a:off x="0" y="12435840"/>
                <a:ext cx="243841" cy="1"/>
              </a:xfrm>
              <a:prstGeom prst="line">
                <a:avLst/>
              </a:prstGeom>
              <a:noFill/>
              <a:ln w="25400" cap="flat">
                <a:solidFill>
                  <a:srgbClr val="BEBEBE"/>
                </a:solidFill>
                <a:prstDash val="solid"/>
                <a:round/>
              </a:ln>
              <a:effectLst/>
            </p:spPr>
            <p:txBody>
              <a:bodyPr wrap="square" lIns="121919" tIns="121919" rIns="121919" bIns="121919" numCol="1" anchor="t">
                <a:noAutofit/>
              </a:bodyPr>
              <a:lstStyle/>
              <a:p>
                <a:pPr algn="l" defTabSz="914644">
                  <a:defRPr sz="3400" b="1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sz="1700"/>
              </a:p>
            </p:txBody>
          </p:sp>
        </p:grpSp>
      </p:grpSp>
      <p:sp>
        <p:nvSpPr>
          <p:cNvPr id="530" name="Cool gray 10 rectangle"/>
          <p:cNvSpPr/>
          <p:nvPr userDrawn="1"/>
        </p:nvSpPr>
        <p:spPr>
          <a:xfrm>
            <a:off x="6096000" y="26244"/>
            <a:ext cx="6096000" cy="6858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8000" tIns="48000" rIns="48000" bIns="48000" anchor="ctr"/>
          <a:lstStyle/>
          <a:p>
            <a:pPr defTabSz="914644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grpSp>
        <p:nvGrpSpPr>
          <p:cNvPr id="573" name="Group"/>
          <p:cNvGrpSpPr/>
          <p:nvPr/>
        </p:nvGrpSpPr>
        <p:grpSpPr>
          <a:xfrm>
            <a:off x="-146307" y="-146474"/>
            <a:ext cx="12485628" cy="7152641"/>
            <a:chOff x="0" y="0"/>
            <a:chExt cx="24971254" cy="14305280"/>
          </a:xfrm>
        </p:grpSpPr>
        <p:sp>
          <p:nvSpPr>
            <p:cNvPr id="533" name="Straight Connector 92"/>
            <p:cNvSpPr/>
            <p:nvPr/>
          </p:nvSpPr>
          <p:spPr>
            <a:xfrm flipV="1">
              <a:off x="9039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4" name="Straight Connector 93"/>
            <p:cNvSpPr/>
            <p:nvPr/>
          </p:nvSpPr>
          <p:spPr>
            <a:xfrm flipV="1">
              <a:off x="57807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5" name="Straight Connector 94"/>
            <p:cNvSpPr/>
            <p:nvPr/>
          </p:nvSpPr>
          <p:spPr>
            <a:xfrm flipV="1">
              <a:off x="639030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6" name="Straight Connector 95"/>
            <p:cNvSpPr/>
            <p:nvPr/>
          </p:nvSpPr>
          <p:spPr>
            <a:xfrm flipV="1">
              <a:off x="6999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7" name="Straight Connector 96"/>
            <p:cNvSpPr/>
            <p:nvPr/>
          </p:nvSpPr>
          <p:spPr>
            <a:xfrm flipV="1">
              <a:off x="11876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8" name="Straight Connector 97"/>
            <p:cNvSpPr/>
            <p:nvPr/>
          </p:nvSpPr>
          <p:spPr>
            <a:xfrm flipV="1">
              <a:off x="124863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39" name="Straight Connector 98"/>
            <p:cNvSpPr/>
            <p:nvPr/>
          </p:nvSpPr>
          <p:spPr>
            <a:xfrm flipV="1">
              <a:off x="130959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0" name="Straight Connector 99"/>
            <p:cNvSpPr/>
            <p:nvPr/>
          </p:nvSpPr>
          <p:spPr>
            <a:xfrm flipV="1">
              <a:off x="17972707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1" name="Straight Connector 100"/>
            <p:cNvSpPr/>
            <p:nvPr/>
          </p:nvSpPr>
          <p:spPr>
            <a:xfrm flipV="1">
              <a:off x="185823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2" name="Straight Connector 101"/>
            <p:cNvSpPr/>
            <p:nvPr/>
          </p:nvSpPr>
          <p:spPr>
            <a:xfrm flipV="1">
              <a:off x="19191909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3" name="Straight Connector 102"/>
            <p:cNvSpPr/>
            <p:nvPr/>
          </p:nvSpPr>
          <p:spPr>
            <a:xfrm flipV="1">
              <a:off x="24068526" y="-1"/>
              <a:ext cx="1" cy="243842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4" name="Straight Connector 81"/>
            <p:cNvSpPr/>
            <p:nvPr/>
          </p:nvSpPr>
          <p:spPr>
            <a:xfrm flipV="1">
              <a:off x="9039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5" name="Straight Connector 82"/>
            <p:cNvSpPr/>
            <p:nvPr/>
          </p:nvSpPr>
          <p:spPr>
            <a:xfrm flipV="1">
              <a:off x="57807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6" name="Straight Connector 83"/>
            <p:cNvSpPr/>
            <p:nvPr/>
          </p:nvSpPr>
          <p:spPr>
            <a:xfrm flipV="1">
              <a:off x="639030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7" name="Straight Connector 84"/>
            <p:cNvSpPr/>
            <p:nvPr/>
          </p:nvSpPr>
          <p:spPr>
            <a:xfrm flipV="1">
              <a:off x="6999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8" name="Straight Connector 85"/>
            <p:cNvSpPr/>
            <p:nvPr/>
          </p:nvSpPr>
          <p:spPr>
            <a:xfrm flipV="1">
              <a:off x="11876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49" name="Straight Connector 86"/>
            <p:cNvSpPr/>
            <p:nvPr/>
          </p:nvSpPr>
          <p:spPr>
            <a:xfrm flipV="1">
              <a:off x="124863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0" name="Straight Connector 87"/>
            <p:cNvSpPr/>
            <p:nvPr/>
          </p:nvSpPr>
          <p:spPr>
            <a:xfrm flipV="1">
              <a:off x="130959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1" name="Straight Connector 88"/>
            <p:cNvSpPr/>
            <p:nvPr/>
          </p:nvSpPr>
          <p:spPr>
            <a:xfrm flipV="1">
              <a:off x="17972707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2" name="Straight Connector 89"/>
            <p:cNvSpPr/>
            <p:nvPr/>
          </p:nvSpPr>
          <p:spPr>
            <a:xfrm flipV="1">
              <a:off x="185823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3" name="Straight Connector 90"/>
            <p:cNvSpPr/>
            <p:nvPr/>
          </p:nvSpPr>
          <p:spPr>
            <a:xfrm flipV="1">
              <a:off x="19191909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4" name="Straight Connector 91"/>
            <p:cNvSpPr/>
            <p:nvPr/>
          </p:nvSpPr>
          <p:spPr>
            <a:xfrm flipV="1">
              <a:off x="24068526" y="14061440"/>
              <a:ext cx="1" cy="24384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5" name="Straight Connector 72"/>
            <p:cNvSpPr/>
            <p:nvPr/>
          </p:nvSpPr>
          <p:spPr>
            <a:xfrm flipH="1">
              <a:off x="-1" y="2036402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6" name="Straight Connector 73"/>
            <p:cNvSpPr/>
            <p:nvPr/>
          </p:nvSpPr>
          <p:spPr>
            <a:xfrm flipH="1">
              <a:off x="-1" y="373109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7" name="Straight Connector 74"/>
            <p:cNvSpPr/>
            <p:nvPr/>
          </p:nvSpPr>
          <p:spPr>
            <a:xfrm flipH="1">
              <a:off x="-1" y="543797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8" name="Straight Connector 75"/>
            <p:cNvSpPr/>
            <p:nvPr/>
          </p:nvSpPr>
          <p:spPr>
            <a:xfrm flipH="1">
              <a:off x="-1" y="714892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59" name="Straight Connector 76"/>
            <p:cNvSpPr/>
            <p:nvPr/>
          </p:nvSpPr>
          <p:spPr>
            <a:xfrm flipH="1">
              <a:off x="-1" y="885173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0" name="Straight Connector 77"/>
            <p:cNvSpPr/>
            <p:nvPr/>
          </p:nvSpPr>
          <p:spPr>
            <a:xfrm flipH="1">
              <a:off x="-1" y="10558611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1" name="Straight Connector 78"/>
            <p:cNvSpPr/>
            <p:nvPr/>
          </p:nvSpPr>
          <p:spPr>
            <a:xfrm flipH="1">
              <a:off x="-1" y="12277683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2" name="Straight Connector 79"/>
            <p:cNvSpPr/>
            <p:nvPr/>
          </p:nvSpPr>
          <p:spPr>
            <a:xfrm flipH="1">
              <a:off x="-1" y="926930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3" name="Straight Connector 80"/>
            <p:cNvSpPr/>
            <p:nvPr/>
          </p:nvSpPr>
          <p:spPr>
            <a:xfrm flipH="1">
              <a:off x="-1" y="13365478"/>
              <a:ext cx="243842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4" name="Straight Connector 63"/>
            <p:cNvSpPr/>
            <p:nvPr/>
          </p:nvSpPr>
          <p:spPr>
            <a:xfrm flipH="1">
              <a:off x="24727414" y="2036402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5" name="Straight Connector 64"/>
            <p:cNvSpPr/>
            <p:nvPr/>
          </p:nvSpPr>
          <p:spPr>
            <a:xfrm flipH="1">
              <a:off x="24727414" y="373109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6" name="Straight Connector 65"/>
            <p:cNvSpPr/>
            <p:nvPr/>
          </p:nvSpPr>
          <p:spPr>
            <a:xfrm flipH="1">
              <a:off x="24727414" y="543797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7" name="Straight Connector 66"/>
            <p:cNvSpPr/>
            <p:nvPr/>
          </p:nvSpPr>
          <p:spPr>
            <a:xfrm flipH="1">
              <a:off x="24727414" y="714485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8" name="Straight Connector 67"/>
            <p:cNvSpPr/>
            <p:nvPr/>
          </p:nvSpPr>
          <p:spPr>
            <a:xfrm flipH="1">
              <a:off x="24727414" y="885173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69" name="Straight Connector 68"/>
            <p:cNvSpPr/>
            <p:nvPr/>
          </p:nvSpPr>
          <p:spPr>
            <a:xfrm flipH="1">
              <a:off x="24727414" y="10558611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0" name="Straight Connector 69"/>
            <p:cNvSpPr/>
            <p:nvPr/>
          </p:nvSpPr>
          <p:spPr>
            <a:xfrm flipH="1">
              <a:off x="24727414" y="12277683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1" name="Straight Connector 70"/>
            <p:cNvSpPr/>
            <p:nvPr/>
          </p:nvSpPr>
          <p:spPr>
            <a:xfrm flipH="1">
              <a:off x="24727414" y="92693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  <p:sp>
          <p:nvSpPr>
            <p:cNvPr id="572" name="Straight Connector 71"/>
            <p:cNvSpPr/>
            <p:nvPr/>
          </p:nvSpPr>
          <p:spPr>
            <a:xfrm flipH="1">
              <a:off x="24727414" y="13362770"/>
              <a:ext cx="243841" cy="1"/>
            </a:xfrm>
            <a:prstGeom prst="line">
              <a:avLst/>
            </a:prstGeom>
            <a:noFill/>
            <a:ln w="25400" cap="flat">
              <a:solidFill>
                <a:srgbClr val="697077"/>
              </a:solidFill>
              <a:prstDash val="solid"/>
              <a:round/>
            </a:ln>
            <a:effectLst/>
          </p:spPr>
          <p:txBody>
            <a:bodyPr wrap="square" lIns="121919" tIns="121919" rIns="121919" bIns="121919" numCol="1" anchor="t">
              <a:noAutofit/>
            </a:bodyPr>
            <a:lstStyle/>
            <a:p>
              <a:pPr algn="l" defTabSz="914644">
                <a:defRPr sz="3400">
                  <a:solidFill>
                    <a:srgbClr val="000000"/>
                  </a:solidFill>
                  <a:latin typeface="IBM Plex Sans Medium"/>
                  <a:ea typeface="IBM Plex Sans Medium"/>
                  <a:cs typeface="IBM Plex Sans Medium"/>
                  <a:sym typeface="IBM Plex Sans Medium"/>
                </a:defRPr>
              </a:pPr>
              <a:endParaRPr sz="1700"/>
            </a:p>
          </p:txBody>
        </p: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94B9C110-3545-CD94-AA1C-557A650FEA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01647" y="5992368"/>
            <a:ext cx="2404477" cy="71124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9">
            <a:extLst>
              <a:ext uri="{FF2B5EF4-FFF2-40B4-BE49-F238E27FC236}">
                <a16:creationId xmlns:a16="http://schemas.microsoft.com/office/drawing/2014/main" id="{0D9C3D73-A209-6D03-EF26-7B69C04DD0E9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753739" y="2769795"/>
            <a:ext cx="4798272" cy="865451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4800" b="0" i="0">
                <a:solidFill>
                  <a:schemeClr val="bg1"/>
                </a:solidFill>
                <a:latin typeface="IBM Plex Sans Medium" charset="0"/>
                <a:ea typeface="IBM Plex Sans Medium" charset="0"/>
                <a:cs typeface="IBM Plex Sans Medium" charset="0"/>
              </a:defRPr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DC424CCD-042F-45E0-0F79-DA2FA12B8E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78" y="4391565"/>
            <a:ext cx="4785223" cy="685800"/>
          </a:xfrm>
        </p:spPr>
        <p:txBody>
          <a:bodyPr/>
          <a:lstStyle>
            <a:lvl1pPr>
              <a:buClr>
                <a:schemeClr val="bg1"/>
              </a:buClr>
              <a:buNone/>
              <a:defRPr sz="1800" b="0" i="0">
                <a:solidFill>
                  <a:schemeClr val="bg1"/>
                </a:solidFill>
                <a:latin typeface="IBM Plex Sans Regular" charset="0"/>
                <a:ea typeface="IBM Plex Sans Regular" charset="0"/>
                <a:cs typeface="IBM Plex Sans Regular" charset="0"/>
              </a:defRPr>
            </a:lvl1pPr>
          </a:lstStyle>
          <a:p>
            <a:r>
              <a:rPr lang="en-US" dirty="0"/>
              <a:t>Click to add date (month xx, </a:t>
            </a:r>
            <a:r>
              <a:rPr lang="en-US" dirty="0" err="1"/>
              <a:t>xxxx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926810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8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!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94AF1D2-C05F-0E40-06EC-44B866ADE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9509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424E05-9B4B-3CB3-8F98-766DC4C8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AEDAAC-8BDE-F304-03DD-18A1B9D3B8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3F8521-8206-915F-E423-4C1A340D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6A38F8A-3F01-11E5-8696-A1BF581F1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055198-1ECE-9180-2B5A-0411B9E4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161EC9-D617-5E29-117C-816924ED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5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xes (1 large, 4 small)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23 / © 2023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79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96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932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24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918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6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74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786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335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5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62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3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3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89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E56784-8AF0-8702-828E-E6D86BAD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F32CAF8-09D2-B984-6C26-FF18C974D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C23CF5E-64F5-0162-9F6F-61F3F4432E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2B90CBD-667F-6829-3447-8C2CA4D94E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032084F-A782-454E-5CEE-16F38F0530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2AC5406B-76ED-B1E5-7B74-CE5F711F8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30EA2D7-4829-B682-5C95-F2550E2FF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710E83-E9E8-AB5C-3BFB-AF0F7AF11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54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296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25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02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1584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9371FA57-1C35-0825-74D9-10C706C45D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857297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971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4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60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F52C5ABE-6F74-7D2F-E9BE-984771008F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57434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6096000" cy="3429003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D7E182F6-853C-0B50-0EB1-9FA63DCC06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17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48DB33-A43A-D551-954D-E80C97F3B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C366D8-04AD-39BB-9F9D-534EBFA6A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1EEB01-1AEF-9AFC-5EB0-701D97AFF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2AEAB-4D2F-2B42-6327-2399256B8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9495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384048" tIns="310896" rIns="384048" bIns="228600"/>
          <a:lstStyle>
            <a:lvl1pPr>
              <a:defRPr sz="63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143A6CD3-E01C-F7D2-5D47-0BF4D2F1A5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8031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4532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897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41F2CE3C-A6C6-0A0F-5E97-EA9E92F24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8395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0826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637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0891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4882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39CD95C-68FA-4C01-B219-9D88AD58E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3D736AC-D775-D67E-26D2-56210DF64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4FE093D-624F-E034-BB62-A14D0331C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79090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622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/>
            </a:lvl1pPr>
            <a:lvl2pPr marL="0" indent="0">
              <a:spcBef>
                <a:spcPts val="0"/>
              </a:spcBef>
              <a:buNone/>
              <a:defRPr/>
            </a:lvl2pPr>
            <a:lvl3pPr marL="268544" indent="0">
              <a:buNone/>
              <a:defRPr/>
            </a:lvl3pPr>
            <a:lvl4pPr marL="579380" indent="0">
              <a:buNone/>
              <a:defRPr/>
            </a:lvl4pPr>
            <a:lvl5pPr marL="84158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/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2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8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23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637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093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2706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92501" y="1354244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94956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44" y="112935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322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891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995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03F078-1C78-FAEB-4861-B483D91D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06117C3-E91A-571C-B08A-39657AAE0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A753E74-2437-9EFC-0E7B-2A93C57F49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86D8BE4-32EF-0598-A30C-8AAE38B27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9D5E26F-F1F3-1B02-47BD-36519E00B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BB9DD9-2812-CDF3-3CDF-923927814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765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410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813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82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460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5306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988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3330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569DBBD2-81AB-BC8D-5FCE-FCC799BE58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6713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690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41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5C0006-A07B-B935-BB4B-71AF11821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2E7D73C-2AD2-4D9A-0D6C-BC60D73AD9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9DFD574-B0D6-3217-6796-CDEEEBA251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470C9A8-D9FF-4558-DA32-8D85E3CB6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6C67A6E-CEFC-13CB-8362-DB31CEFE3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3818F22-EF87-D014-4C93-9C39B7CCD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254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39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E6E72EB9-D363-2D5F-7795-D9168B3B81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99379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72C5EC34-5D8A-9CC9-053E-A37FE077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66182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81BA9788-F15F-FBE9-E68A-A1351991C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2818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55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3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DB4DB5C7-7708-D859-F904-1A40E778B0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74762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3409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320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551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82DE541-873F-DAB5-66A6-5C079478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8A97245-1AD0-E78B-77C4-C3BC1EA32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7D35C2B-5B36-47BE-C405-1172A4C384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B0D960-4988-4E06-8237-45973EBCFD50}" type="datetimeFigureOut">
              <a:rPr lang="pt-BR" smtClean="0"/>
              <a:t>19/08/2025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5334D7-1637-2616-BB5B-7546F9299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CF56FD9-9B43-262B-DFAE-4E4F2B520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CC262-44EF-42B0-8DE3-5CC43C815DA4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logo2-04.png" descr="logo2-04.png">
            <a:extLst>
              <a:ext uri="{FF2B5EF4-FFF2-40B4-BE49-F238E27FC236}">
                <a16:creationId xmlns:a16="http://schemas.microsoft.com/office/drawing/2014/main" id="{6988B69E-1E70-A3CA-D170-BA8E387C40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030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18B5EE56-40F3-0DBB-EAAB-88303CEFFE7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2973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9" r:id="rId27"/>
    <p:sldLayoutId id="2147483792" r:id="rId28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61C29F"/>
        </a:buClr>
        <a:buFont typeface="Arial"/>
        <a:buChar char="•"/>
        <a:defRPr sz="1800" b="0" i="0" kern="1200">
          <a:solidFill>
            <a:srgbClr val="606060"/>
          </a:solidFill>
          <a:latin typeface="IBM Plex Sans" charset="0"/>
          <a:ea typeface="IBM Plex Sans" charset="0"/>
          <a:cs typeface="IBM Plex Sans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90" y="6383867"/>
            <a:ext cx="5486313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7"/>
            <a:ext cx="2438309" cy="222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BF7E8C16-95CB-8E64-B04F-C4C45E77947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79799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75" r:id="rId15"/>
    <p:sldLayoutId id="2147483739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  <p:sldLayoutId id="214748379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5pPr>
      <a:lvl6pPr marL="4829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6pPr>
      <a:lvl7pPr marL="96586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7pPr>
      <a:lvl8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8pPr>
      <a:lvl9pPr marL="19317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36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6738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7351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5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69949" indent="-23141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5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09463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6pPr>
      <a:lvl7pPr marL="2592395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7pPr>
      <a:lvl8pPr marL="307532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8pPr>
      <a:lvl9pPr marL="3558256" indent="-17271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1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8292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65861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4879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93172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414650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9757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80509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63438" algn="l" defTabSz="965861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4" name="logo2-04.png" descr="logo2-04.png">
            <a:extLst>
              <a:ext uri="{FF2B5EF4-FFF2-40B4-BE49-F238E27FC236}">
                <a16:creationId xmlns:a16="http://schemas.microsoft.com/office/drawing/2014/main" id="{6D1DCB56-99B2-79AC-402F-3248D14A369C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61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alexandre.zanetti@br.ibm.com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900788" TargetMode="External"/><Relationship Id="rId13" Type="http://schemas.openxmlformats.org/officeDocument/2006/relationships/hyperlink" Target="https://reports.rchland.ibm.com/cgi-bin/sf?TS014667687" TargetMode="External"/><Relationship Id="rId18" Type="http://schemas.openxmlformats.org/officeDocument/2006/relationships/hyperlink" Target="https://reports.rchland.ibm.com/cgi-bin/sf?TS01693299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7" Type="http://schemas.openxmlformats.org/officeDocument/2006/relationships/hyperlink" Target="https://reports.rchland.ibm.com/cgi-bin/sf?TS015347054" TargetMode="External"/><Relationship Id="rId12" Type="http://schemas.openxmlformats.org/officeDocument/2006/relationships/hyperlink" Target="https://reports.rchland.ibm.com/cgi-bin/sf?TS015879483" TargetMode="External"/><Relationship Id="rId17" Type="http://schemas.openxmlformats.org/officeDocument/2006/relationships/hyperlink" Target="https://reports.rchland.ibm.com/cgi-bin/sf?TS019090514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851676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626556" TargetMode="External"/><Relationship Id="rId11" Type="http://schemas.openxmlformats.org/officeDocument/2006/relationships/hyperlink" Target="https://reports.rchland.ibm.com/cgi-bin/sf?TS015339398" TargetMode="External"/><Relationship Id="rId5" Type="http://schemas.openxmlformats.org/officeDocument/2006/relationships/hyperlink" Target="https://reports.rchland.ibm.com/cgi-bin/sf?TS012829622" TargetMode="External"/><Relationship Id="rId15" Type="http://schemas.openxmlformats.org/officeDocument/2006/relationships/hyperlink" Target="https://reports.rchland.ibm.com/cgi-bin/sf?TS017922422" TargetMode="External"/><Relationship Id="rId10" Type="http://schemas.openxmlformats.org/officeDocument/2006/relationships/hyperlink" Target="https://reports.rchland.ibm.com/cgi-bin/sf?TS015676001" TargetMode="External"/><Relationship Id="rId19" Type="http://schemas.openxmlformats.org/officeDocument/2006/relationships/hyperlink" Target="https://reports.rchland.ibm.com/cgi-bin/sf?TS017081424" TargetMode="External"/><Relationship Id="rId4" Type="http://schemas.openxmlformats.org/officeDocument/2006/relationships/hyperlink" Target="https://reports.rchland.ibm.com/cgi-bin/sf?TS017122302" TargetMode="External"/><Relationship Id="rId9" Type="http://schemas.openxmlformats.org/officeDocument/2006/relationships/hyperlink" Target="https://reports.rchland.ibm.com/cgi-bin/sf?TS012998725" TargetMode="External"/><Relationship Id="rId14" Type="http://schemas.openxmlformats.org/officeDocument/2006/relationships/hyperlink" Target="https://reports.rchland.ibm.com/cgi-bin/sf?TS016934374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reports.rchland.ibm.com/cgi-bin/sf?TS015116021" TargetMode="External"/><Relationship Id="rId13" Type="http://schemas.openxmlformats.org/officeDocument/2006/relationships/hyperlink" Target="https://reports.rchland.ibm.com/cgi-bin/sf?TS017555328" TargetMode="External"/><Relationship Id="rId18" Type="http://schemas.openxmlformats.org/officeDocument/2006/relationships/hyperlink" Target="https://reports.rchland.ibm.com/cgi-bin/sf?TS006615311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21" Type="http://schemas.openxmlformats.org/officeDocument/2006/relationships/hyperlink" Target="https://reports.rchland.ibm.com/cgi-bin/sf?TS003882859" TargetMode="External"/><Relationship Id="rId7" Type="http://schemas.openxmlformats.org/officeDocument/2006/relationships/hyperlink" Target="https://reports.rchland.ibm.com/cgi-bin/sf?TS015162011" TargetMode="External"/><Relationship Id="rId12" Type="http://schemas.openxmlformats.org/officeDocument/2006/relationships/hyperlink" Target="https://reports.rchland.ibm.com/cgi-bin/sf?TS017417232" TargetMode="External"/><Relationship Id="rId17" Type="http://schemas.openxmlformats.org/officeDocument/2006/relationships/hyperlink" Target="https://reports.rchland.ibm.com/cgi-bin/sf?TS013129356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3106092" TargetMode="External"/><Relationship Id="rId20" Type="http://schemas.openxmlformats.org/officeDocument/2006/relationships/hyperlink" Target="https://reports.rchland.ibm.com/cgi-bin/sf?TS004377613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3660926" TargetMode="External"/><Relationship Id="rId11" Type="http://schemas.openxmlformats.org/officeDocument/2006/relationships/hyperlink" Target="https://reports.rchland.ibm.com/cgi-bin/sf?TS016984091" TargetMode="External"/><Relationship Id="rId5" Type="http://schemas.openxmlformats.org/officeDocument/2006/relationships/hyperlink" Target="https://reports.rchland.ibm.com/cgi-bin/sf?TS013801872" TargetMode="External"/><Relationship Id="rId15" Type="http://schemas.openxmlformats.org/officeDocument/2006/relationships/hyperlink" Target="https://reports.rchland.ibm.com/cgi-bin/sf?TS019697385" TargetMode="External"/><Relationship Id="rId10" Type="http://schemas.openxmlformats.org/officeDocument/2006/relationships/hyperlink" Target="https://reports.rchland.ibm.com/cgi-bin/sf?TS016023761" TargetMode="External"/><Relationship Id="rId19" Type="http://schemas.openxmlformats.org/officeDocument/2006/relationships/hyperlink" Target="https://reports.rchland.ibm.com/cgi-bin/sf?TS006640086" TargetMode="External"/><Relationship Id="rId4" Type="http://schemas.openxmlformats.org/officeDocument/2006/relationships/hyperlink" Target="https://reports.rchland.ibm.com/cgi-bin/sf?TS015161174" TargetMode="External"/><Relationship Id="rId9" Type="http://schemas.openxmlformats.org/officeDocument/2006/relationships/hyperlink" Target="https://reports.rchland.ibm.com/cgi-bin/sf?TS015115330" TargetMode="External"/><Relationship Id="rId14" Type="http://schemas.openxmlformats.org/officeDocument/2006/relationships/hyperlink" Target="https://reports.rchland.ibm.com/cgi-bin/sf?TS017776123" TargetMode="Externa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hyperlink" Target="https://reports.rchland.ibm.com/cgi-bin/sf?TS013824471" TargetMode="External"/><Relationship Id="rId18" Type="http://schemas.openxmlformats.org/officeDocument/2006/relationships/hyperlink" Target="https://reports.rchland.ibm.com/cgi-bin/sf?TS015984777" TargetMode="External"/><Relationship Id="rId26" Type="http://schemas.openxmlformats.org/officeDocument/2006/relationships/hyperlink" Target="https://reports.rchland.ibm.com/cgi-bin/sf?TS012712078" TargetMode="External"/><Relationship Id="rId39" Type="http://schemas.openxmlformats.org/officeDocument/2006/relationships/hyperlink" Target="https://reports.rchland.ibm.com/cgi-bin/sf?TS018387592" TargetMode="External"/><Relationship Id="rId21" Type="http://schemas.openxmlformats.org/officeDocument/2006/relationships/hyperlink" Target="https://reports.rchland.ibm.com/cgi-bin/sf?TS015984800" TargetMode="External"/><Relationship Id="rId34" Type="http://schemas.openxmlformats.org/officeDocument/2006/relationships/hyperlink" Target="https://reports.rchland.ibm.com/cgi-bin/sf?TS016180180" TargetMode="External"/><Relationship Id="rId42" Type="http://schemas.openxmlformats.org/officeDocument/2006/relationships/hyperlink" Target="https://reports.rchland.ibm.com/cgi-bin/sf?TS018474316" TargetMode="External"/><Relationship Id="rId47" Type="http://schemas.openxmlformats.org/officeDocument/2006/relationships/hyperlink" Target="https://reports.rchland.ibm.com/cgi-bin/sf?TS018613872" TargetMode="External"/><Relationship Id="rId50" Type="http://schemas.openxmlformats.org/officeDocument/2006/relationships/hyperlink" Target="https://reports.rchland.ibm.com/cgi-bin/sf?TS019243496" TargetMode="External"/><Relationship Id="rId7" Type="http://schemas.openxmlformats.org/officeDocument/2006/relationships/hyperlink" Target="https://reports.rchland.ibm.com/cgi-bin/sf?TS015984849" TargetMode="External"/><Relationship Id="rId2" Type="http://schemas.openxmlformats.org/officeDocument/2006/relationships/hyperlink" Target="https://smartcare.rchland.ibm.com/Dashboard/html/reports/detailedReport.html?reportType=SFC&amp;index=347&amp;division=All&amp;brand=All&amp;geo=All&amp;cc=All&amp;problem_type=Software" TargetMode="External"/><Relationship Id="rId16" Type="http://schemas.openxmlformats.org/officeDocument/2006/relationships/hyperlink" Target="https://reports.rchland.ibm.com/cgi-bin/sf?TS015984844" TargetMode="External"/><Relationship Id="rId29" Type="http://schemas.openxmlformats.org/officeDocument/2006/relationships/hyperlink" Target="https://reports.rchland.ibm.com/cgi-bin/sf?TS015984641" TargetMode="External"/><Relationship Id="rId11" Type="http://schemas.openxmlformats.org/officeDocument/2006/relationships/hyperlink" Target="https://reports.rchland.ibm.com/cgi-bin/sf?TS014998583" TargetMode="External"/><Relationship Id="rId24" Type="http://schemas.openxmlformats.org/officeDocument/2006/relationships/hyperlink" Target="https://reports.rchland.ibm.com/cgi-bin/sf?TS015984714" TargetMode="External"/><Relationship Id="rId32" Type="http://schemas.openxmlformats.org/officeDocument/2006/relationships/hyperlink" Target="https://reports.rchland.ibm.com/cgi-bin/sf?TS014516713" TargetMode="External"/><Relationship Id="rId37" Type="http://schemas.openxmlformats.org/officeDocument/2006/relationships/hyperlink" Target="https://reports.rchland.ibm.com/cgi-bin/sf?TS017419591" TargetMode="External"/><Relationship Id="rId40" Type="http://schemas.openxmlformats.org/officeDocument/2006/relationships/hyperlink" Target="https://reports.rchland.ibm.com/cgi-bin/sf?TS018400294" TargetMode="External"/><Relationship Id="rId45" Type="http://schemas.openxmlformats.org/officeDocument/2006/relationships/hyperlink" Target="https://reports.rchland.ibm.com/cgi-bin/sf?TS018606318" TargetMode="External"/><Relationship Id="rId5" Type="http://schemas.openxmlformats.org/officeDocument/2006/relationships/hyperlink" Target="https://reports.rchland.ibm.com/cgi-bin/sf?TS015621299" TargetMode="External"/><Relationship Id="rId15" Type="http://schemas.openxmlformats.org/officeDocument/2006/relationships/hyperlink" Target="https://reports.rchland.ibm.com/cgi-bin/sf?TS016171946" TargetMode="External"/><Relationship Id="rId23" Type="http://schemas.openxmlformats.org/officeDocument/2006/relationships/hyperlink" Target="https://reports.rchland.ibm.com/cgi-bin/sf?TS015984693" TargetMode="External"/><Relationship Id="rId28" Type="http://schemas.openxmlformats.org/officeDocument/2006/relationships/hyperlink" Target="https://reports.rchland.ibm.com/cgi-bin/sf?TS014497347" TargetMode="External"/><Relationship Id="rId36" Type="http://schemas.openxmlformats.org/officeDocument/2006/relationships/hyperlink" Target="https://reports.rchland.ibm.com/cgi-bin/sf?TS017038830" TargetMode="External"/><Relationship Id="rId49" Type="http://schemas.openxmlformats.org/officeDocument/2006/relationships/hyperlink" Target="https://reports.rchland.ibm.com/cgi-bin/sf?TS019027860" TargetMode="External"/><Relationship Id="rId10" Type="http://schemas.openxmlformats.org/officeDocument/2006/relationships/hyperlink" Target="https://reports.rchland.ibm.com/cgi-bin/sf?TS015984659" TargetMode="External"/><Relationship Id="rId19" Type="http://schemas.openxmlformats.org/officeDocument/2006/relationships/hyperlink" Target="https://reports.rchland.ibm.com/cgi-bin/sf?TS015984671" TargetMode="External"/><Relationship Id="rId31" Type="http://schemas.openxmlformats.org/officeDocument/2006/relationships/hyperlink" Target="https://reports.rchland.ibm.com/cgi-bin/sf?TS015536044" TargetMode="External"/><Relationship Id="rId44" Type="http://schemas.openxmlformats.org/officeDocument/2006/relationships/hyperlink" Target="https://reports.rchland.ibm.com/cgi-bin/sf?TS018600112" TargetMode="External"/><Relationship Id="rId4" Type="http://schemas.openxmlformats.org/officeDocument/2006/relationships/hyperlink" Target="https://reports.rchland.ibm.com/cgi-bin/sf?TS014656008" TargetMode="External"/><Relationship Id="rId9" Type="http://schemas.openxmlformats.org/officeDocument/2006/relationships/hyperlink" Target="https://reports.rchland.ibm.com/cgi-bin/sf?TS015479721" TargetMode="External"/><Relationship Id="rId14" Type="http://schemas.openxmlformats.org/officeDocument/2006/relationships/hyperlink" Target="https://reports.rchland.ibm.com/cgi-bin/sf?TS016149274" TargetMode="External"/><Relationship Id="rId22" Type="http://schemas.openxmlformats.org/officeDocument/2006/relationships/hyperlink" Target="https://reports.rchland.ibm.com/cgi-bin/sf?TS015984761" TargetMode="External"/><Relationship Id="rId27" Type="http://schemas.openxmlformats.org/officeDocument/2006/relationships/hyperlink" Target="https://reports.rchland.ibm.com/cgi-bin/sf?TS015926194" TargetMode="External"/><Relationship Id="rId30" Type="http://schemas.openxmlformats.org/officeDocument/2006/relationships/hyperlink" Target="https://reports.rchland.ibm.com/cgi-bin/sf?TS015535908" TargetMode="External"/><Relationship Id="rId35" Type="http://schemas.openxmlformats.org/officeDocument/2006/relationships/hyperlink" Target="https://reports.rchland.ibm.com/cgi-bin/sf?TS016939549" TargetMode="External"/><Relationship Id="rId43" Type="http://schemas.openxmlformats.org/officeDocument/2006/relationships/hyperlink" Target="https://reports.rchland.ibm.com/cgi-bin/sf?TS018461802" TargetMode="External"/><Relationship Id="rId48" Type="http://schemas.openxmlformats.org/officeDocument/2006/relationships/hyperlink" Target="https://reports.rchland.ibm.com/cgi-bin/sf?TS018972746" TargetMode="External"/><Relationship Id="rId8" Type="http://schemas.openxmlformats.org/officeDocument/2006/relationships/hyperlink" Target="https://reports.rchland.ibm.com/cgi-bin/sf?TS016204435" TargetMode="External"/><Relationship Id="rId3" Type="http://schemas.openxmlformats.org/officeDocument/2006/relationships/hyperlink" Target="https://w3.ibm.com/tools/caseviewer/listcases/?type=accounts&amp;id=0015000001OVOKjAAP&amp;name=BANCO%20BRADESCO%20S/A&amp;ICN=0050200" TargetMode="External"/><Relationship Id="rId12" Type="http://schemas.openxmlformats.org/officeDocument/2006/relationships/hyperlink" Target="https://reports.rchland.ibm.com/cgi-bin/sf?TS014206713" TargetMode="External"/><Relationship Id="rId17" Type="http://schemas.openxmlformats.org/officeDocument/2006/relationships/hyperlink" Target="https://reports.rchland.ibm.com/cgi-bin/sf?TS015984663" TargetMode="External"/><Relationship Id="rId25" Type="http://schemas.openxmlformats.org/officeDocument/2006/relationships/hyperlink" Target="https://reports.rchland.ibm.com/cgi-bin/sf?TS016005898" TargetMode="External"/><Relationship Id="rId33" Type="http://schemas.openxmlformats.org/officeDocument/2006/relationships/hyperlink" Target="https://reports.rchland.ibm.com/cgi-bin/sf?TS016204830" TargetMode="External"/><Relationship Id="rId38" Type="http://schemas.openxmlformats.org/officeDocument/2006/relationships/hyperlink" Target="https://reports.rchland.ibm.com/cgi-bin/sf?TS017889111" TargetMode="External"/><Relationship Id="rId46" Type="http://schemas.openxmlformats.org/officeDocument/2006/relationships/hyperlink" Target="https://reports.rchland.ibm.com/cgi-bin/sf?TS018601409" TargetMode="External"/><Relationship Id="rId20" Type="http://schemas.openxmlformats.org/officeDocument/2006/relationships/hyperlink" Target="https://reports.rchland.ibm.com/cgi-bin/sf?TS015984644" TargetMode="External"/><Relationship Id="rId41" Type="http://schemas.openxmlformats.org/officeDocument/2006/relationships/hyperlink" Target="https://reports.rchland.ibm.com/cgi-bin/sf?TS01840103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rchland.ibm.com/cgi-bin/sf?TS015495872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hyperlink" Target="https://ibm.biz/avaliacao-cs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bm.biz/linkedin-integra-x" TargetMode="External"/><Relationship Id="rId5" Type="http://schemas.openxmlformats.org/officeDocument/2006/relationships/image" Target="../media/image26.png"/><Relationship Id="rId4" Type="http://schemas.openxmlformats.org/officeDocument/2006/relationships/hyperlink" Target="https://ibm.biz/ibm-integra-x" TargetMode="External"/><Relationship Id="rId9" Type="http://schemas.openxmlformats.org/officeDocument/2006/relationships/image" Target="../media/image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rtner.com/reviews/market/event-brokers/vendor/ibm/product/ibm-mq" TargetMode="External"/><Relationship Id="rId13" Type="http://schemas.openxmlformats.org/officeDocument/2006/relationships/hyperlink" Target="https://www.gartner.com/reviews/market/business-process-management-platforms/vendor/ibm/product/ibm-operational-decision-manager" TargetMode="External"/><Relationship Id="rId18" Type="http://schemas.openxmlformats.org/officeDocument/2006/relationships/hyperlink" Target="https://www.g2.com/contributor/ibm-turbonomic-25-usd-2-reward-link?secure%5Bpage_id%5D=ibm-turbonomic-25-usd-2-reward-link&amp;secure%5Brewards%5D=true&amp;secure%5Btoken%5D=32796aa81198b646011e86b0e261e984a48e546359a6b12b5a2c0956cf633fb1&amp;utm_source=ibm&amp;utm_medium=CSM&amp;utm_campaign=email" TargetMode="External"/><Relationship Id="rId26" Type="http://schemas.openxmlformats.org/officeDocument/2006/relationships/image" Target="../media/image38.png"/><Relationship Id="rId3" Type="http://schemas.openxmlformats.org/officeDocument/2006/relationships/image" Target="../media/image30.png"/><Relationship Id="rId21" Type="http://schemas.openxmlformats.org/officeDocument/2006/relationships/image" Target="../media/image1.png"/><Relationship Id="rId7" Type="http://schemas.openxmlformats.org/officeDocument/2006/relationships/hyperlink" Target="https://www.gartner.com/reviews/market/data-and-analytics-others/vendor/ibm/product/ibm-event-streams" TargetMode="External"/><Relationship Id="rId12" Type="http://schemas.openxmlformats.org/officeDocument/2006/relationships/hyperlink" Target="https://www.gartner.com/reviews/market/content-services-platforms/vendor/ibm/product/ibm-filenet-content-manager" TargetMode="External"/><Relationship Id="rId17" Type="http://schemas.openxmlformats.org/officeDocument/2006/relationships/hyperlink" Target="https://www.gartner.com/reviews/market/cloud-management-tooling/vendor/ibm/product/ibm-turbonomic" TargetMode="External"/><Relationship Id="rId25" Type="http://schemas.openxmlformats.org/officeDocument/2006/relationships/image" Target="../media/image37.png"/><Relationship Id="rId2" Type="http://schemas.openxmlformats.org/officeDocument/2006/relationships/image" Target="../media/image29.png"/><Relationship Id="rId16" Type="http://schemas.openxmlformats.org/officeDocument/2006/relationships/hyperlink" Target="https://www.gartner.com/reviews/market/observability-platforms/vendor/ibm/product/ibm-instana-observability" TargetMode="External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artner.com/reviews/market/application-development-integration-and-management-others/vendor/ibm/product/ibm-aspera" TargetMode="External"/><Relationship Id="rId11" Type="http://schemas.openxmlformats.org/officeDocument/2006/relationships/hyperlink" Target="https://www.gartner.com/reviews/market/business-process-management-platforms/vendor/ibm/product/ibm-business-automation-workflow" TargetMode="External"/><Relationship Id="rId24" Type="http://schemas.openxmlformats.org/officeDocument/2006/relationships/image" Target="../media/image36.png"/><Relationship Id="rId5" Type="http://schemas.openxmlformats.org/officeDocument/2006/relationships/hyperlink" Target="https://www.gartner.com/reviews/market/application-integration-platforms/vendor/ibm/product/ibm-app-connect" TargetMode="External"/><Relationship Id="rId15" Type="http://schemas.openxmlformats.org/officeDocument/2006/relationships/hyperlink" Target="https://www.gartner.com/reviews/market/robotic-process-automation/vendor/ibm/product/ibm-robotic-process-automation" TargetMode="External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hyperlink" Target="https://www.gartner.com/reviews/market/application-platforms-reviews/vendor/ibm/product/websphere-application-server-liberty-core" TargetMode="External"/><Relationship Id="rId19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hyperlink" Target="https://www.gartner.com/reviews/market/application-platforms-reviews/vendor/ibm/product/websphere-application-server-was" TargetMode="External"/><Relationship Id="rId14" Type="http://schemas.openxmlformats.org/officeDocument/2006/relationships/hyperlink" Target="https://www.gartner.com/reviews/market/process-mining-platforms/vendor/ibm/product/ibm-process-mining" TargetMode="External"/><Relationship Id="rId22" Type="http://schemas.openxmlformats.org/officeDocument/2006/relationships/image" Target="../media/image34.png"/><Relationship Id="rId27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ibmsalesconfigurator.com/#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p%20connect%20enterprise" TargetMode="External"/><Relationship Id="rId7" Type="http://schemas.openxmlformats.org/officeDocument/2006/relationships/image" Target="../media/image4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hyperlink" Target="https://www.ibm.com/support/pages/lifecycle/search?q=ibm%20integration%20bus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6.png"/><Relationship Id="rId4" Type="http://schemas.openxmlformats.org/officeDocument/2006/relationships/hyperlink" Target="https://www.ibm.com/support/pages/lifecycle/search?q=ibm%20mq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6.png"/><Relationship Id="rId4" Type="http://schemas.openxmlformats.org/officeDocument/2006/relationships/hyperlink" Target="https://www.ibm.com/support/pages/lifecycle/search/?q=ibm%20Datapower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?q=ibm%20api%20connect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ibm%20event%20stream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png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support/pages/lifecycle/search/?q=asper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png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Relationship Id="rId5" Type="http://schemas.openxmlformats.org/officeDocument/2006/relationships/hyperlink" Target="mailto:alexandre.zanetti@br.ibm.com" TargetMode="Externa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" name="Picture" descr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1" y="6277006"/>
            <a:ext cx="584201" cy="23161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D944818-612B-E934-0B95-E6FCA5DAF5BD}"/>
              </a:ext>
            </a:extLst>
          </p:cNvPr>
          <p:cNvSpPr txBox="1"/>
          <p:nvPr/>
        </p:nvSpPr>
        <p:spPr>
          <a:xfrm>
            <a:off x="8520172" y="5162413"/>
            <a:ext cx="1063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8 </a:t>
            </a:r>
            <a:r>
              <a:rPr lang="en-US" i="1" dirty="0" err="1">
                <a:solidFill>
                  <a:schemeClr val="bg1"/>
                </a:solidFill>
                <a:latin typeface="IBM Plex Sans" panose="020B0503050203000203" pitchFamily="34" charset="0"/>
              </a:rPr>
              <a:t>Julho</a:t>
            </a:r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 2024</a:t>
            </a: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FD6D9039-4E6A-43E1-B0B4-23C47C323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23" y="1675833"/>
            <a:ext cx="3774877" cy="331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44CC79-D79C-BF0C-82C8-75A442AF8EFE}"/>
              </a:ext>
            </a:extLst>
          </p:cNvPr>
          <p:cNvSpPr txBox="1"/>
          <p:nvPr/>
        </p:nvSpPr>
        <p:spPr>
          <a:xfrm>
            <a:off x="3630027" y="6323955"/>
            <a:ext cx="21675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IBM Plex Sans" panose="020B0503050203000203" pitchFamily="34" charset="0"/>
              </a:rPr>
              <a:t>Q3 19 Agosto 2025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6E613984-11D7-B66D-31D2-0B82EA126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8388" y="841234"/>
            <a:ext cx="5619212" cy="316360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IBM </a:t>
            </a:r>
            <a:br>
              <a:rPr lang="en-US" dirty="0"/>
            </a:br>
            <a:br>
              <a:rPr lang="en-US" dirty="0"/>
            </a:br>
            <a:r>
              <a:rPr lang="en-US" sz="3200" dirty="0" err="1"/>
              <a:t>Resumo</a:t>
            </a:r>
            <a:r>
              <a:rPr lang="en-US" sz="3200" dirty="0"/>
              <a:t> </a:t>
            </a:r>
            <a:r>
              <a:rPr lang="en-US" sz="3200" dirty="0" err="1"/>
              <a:t>Executivo</a:t>
            </a:r>
            <a:br>
              <a:rPr lang="en-US" sz="3200" dirty="0"/>
            </a:br>
            <a:r>
              <a:rPr lang="en-US" sz="3200" dirty="0"/>
              <a:t>Contas Enterprise - Strategic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6C719A6-63D1-B214-8308-735CCFBB19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47" t="1553" r="5237" b="2378"/>
          <a:stretch/>
        </p:blipFill>
        <p:spPr>
          <a:xfrm>
            <a:off x="568282" y="4862520"/>
            <a:ext cx="974725" cy="9715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6641EC0-51F8-2288-C464-2DC8AC1974CF}"/>
              </a:ext>
            </a:extLst>
          </p:cNvPr>
          <p:cNvSpPr txBox="1"/>
          <p:nvPr/>
        </p:nvSpPr>
        <p:spPr>
          <a:xfrm>
            <a:off x="1598782" y="4812709"/>
            <a:ext cx="4293483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Alexandre Zanetti</a:t>
            </a:r>
          </a:p>
          <a:p>
            <a:r>
              <a:rPr lang="pt-BR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55 (11) 98539-4632</a:t>
            </a:r>
          </a:p>
          <a:p>
            <a:r>
              <a:rPr lang="en-US" sz="1400" dirty="0">
                <a:solidFill>
                  <a:schemeClr val="bg1"/>
                </a:solidFill>
                <a:effectLst/>
              </a:rPr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565198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708EC07-016B-4DC4-9E19-105433556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C16FF5A-EB3F-3A6C-1FB4-B81077994A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5FDDA4-C3A7-E5A6-F39F-F99285B85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89D0D3-023D-D2F7-5435-158D4CDA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5AAA56-BF01-1378-496C-F18ABCB51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04A8FA-0811-14E9-6300-58B4D1C443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0A29B4-709A-F201-C45D-C90E703C9A7B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6AA797-F274-FAC6-22AA-681AD4F6AA0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334E916-D434-AC3A-0B11-078DBDDD86BA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12E6A6-5BF5-3A3F-6BE6-662D77AE4CC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896361C-C227-9D49-CB6E-4C8B815038F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EDBE686-8D56-3943-206D-01BBC10C8610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782924C-A33C-BDA6-2DDF-EF3C863461F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AFCF568-767C-1C83-E17A-57F0975D96A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86E13D55-E39D-02AF-9E02-FCC9B97F567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 do Bradesc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5076F38-F3A3-0028-8F87-B234461B94BD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02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D1A9FCE-C13E-9970-5843-E39DBAF4A13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C6212CD-3750-B6FC-F122-7422D55B28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E1762732-D7BD-0572-35B7-9569AE68F36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C2FE759-BB79-6A20-ADD3-2FCFFE82C11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23FBD9F4-C2AD-FB7E-F1EB-1B859D966EF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9A23FB4-A7D5-105B-9A0C-E61ADC7B1690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139F82AC-6DDC-04FF-25E2-1343BC97783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43D70B7-8D4B-7C6D-78AB-29415F5104D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91FC95AA-BF52-30E5-2CB0-98CF34EF13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045095D-7CB7-3FE9-D86E-7DA7AEE6B1F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8B2895D9-FCB9-90EA-5839-10C229C60C2E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5B20AF7-0BF9-497F-BAF2-0F7C6567CD9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901A60E-9A3C-5FAF-24F0-3F5E9B371839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 02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orkshop MQ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3327D97-8B12-4F8C-64FE-2CD7C73157F0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ção do BEX (Catalogo)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D8BE515-4EF6-36A7-340F-36AAA32D398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ublicado BEX (Catalogo do Bradesco)</a:t>
              </a:r>
              <a:endParaRPr lang="pt-BR" sz="1000" strike="sngStrike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32300724-4031-D100-8EB6-9874E80F6A1A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28B1923D-4A8E-248E-6FDC-641477E02B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3EF7ABC-3FE2-4A89-9765-43211EA7EBA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2FD5A162-F892-2CD7-D10F-998821CAD4F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7C088E18-484E-AB71-9310-F12C7670921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6240F35-5A00-4FFE-00F3-F0FA5FF9580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E4E4DDD-1D45-4752-8B3A-5AD8E064103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1888A7A-C3E7-FEF4-1C7F-7E2A215D02F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5E569E17-CB42-605C-6611-7F56042721A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60862B6B-742C-9D18-C8D8-2CF81341E26A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2F853CE-CBFB-43B3-1AEF-6292CD197C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4118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CAF8F44-84DA-F7F3-8231-4AC8D0E8DB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B3B5A5D-2883-4C5E-0FBB-D1C5D6FF4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8602BB-A4C6-2E0E-EF4A-47EADB5CB5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634AF8-2B96-3D35-AB2E-4C8D29837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1182C-F3EA-43D4-9D82-05FE003B77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282B45-3D89-CA80-84EE-B3E884BBE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DCA80-9493-D01A-D2D3-DAC9C3D675CA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para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vaBra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MQ no OCP para Infra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Publicação MQ (QMBR / Filas) no BEX  17/06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Arquiteturas MQ (Zaza/Erick)  08/08</a:t>
            </a: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5227EB-430D-30F7-3E73-8647C41417A6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B325CD3-88E2-9088-28D6-1478F48897A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MQ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5/08/2025 (PO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8/08/2025 (SM) 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9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AF944F-4783-BEE0-73E4-016BF1F1DFC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907518-FF99-B3E4-1065-BAEF4C481474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C25AAC6-C506-1D87-64E4-8AD008D57F17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71A521C-45D2-DF85-659D-9FC4EDD9A3C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8B8B74-5A49-7622-6D4D-93C3400061A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007F5D7-9624-9F30-5E8F-C88A74CAE6D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kshop de Arquiteturas MQ no OCP  08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t. Upgrade de versão</a:t>
              </a:r>
              <a:endParaRPr lang="pt-BR" sz="1000" dirty="0">
                <a:solidFill>
                  <a:schemeClr val="tx1"/>
                </a:solidFill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r MQ para ARO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9BE2849-A041-66F1-1301-38E73DC4980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A68C2F3-90C9-68AA-8D84-4DB09B416CA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E7BC330A-1CB5-90F5-FC23-19036240FE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B82A46F-3E63-B5E3-E9A0-BA4F1AEBAE4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ECC29ACD-9E8D-59CB-F078-319011D0A41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DFFA8BB2-66C0-D342-6296-726B359EF1B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05CB1162-9506-8E5E-294D-E2CD9671F04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8F4DBAB0-EABF-8CDB-4BD8-96FA5C2C13E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A6EEE73C-5E5B-E284-09D1-806D61D561E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B247992-8CE2-BA12-D5D0-0CE8AF34031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D0526BC8-6E2C-1729-15DD-5E698150D9B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429D74E-73AD-158B-C7D2-9CA595F717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015486B8-2F6D-6590-4EC5-16D30BA2709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F3CA3D1-A927-8DB4-2004-060C6112DFE6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68A16EA-B69E-21A1-0236-4246FF11CB4B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E9257EF-C904-4CBF-A353-863DCA70DD9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952AD85-6981-918E-41E8-143B5C0EAE57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A0BC45C7-CFD6-8EEA-9F20-11BFB0E1E5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29DD9D86-7F52-60C8-38B1-448B5CA625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95872A90-68A9-04BA-8D29-7EC5E5D8FF98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4772411A-CE49-019F-2906-815C774733E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55656841-F9AA-EA3F-4A25-3270B39D6BD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9A2F870F-3B98-08B7-12BF-5CB7C78BDE4C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1B294359-1CA4-C326-4C5F-53393BB40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B5ABCFF0-9D39-60C9-FA78-E834A89F5E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82A86995-3ECB-7C13-CF4E-351349565E17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E4BCC6F4-ECC1-52CB-44A0-941979C325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09" t="71822" r="54114" b="8893"/>
          <a:stretch/>
        </p:blipFill>
        <p:spPr bwMode="auto">
          <a:xfrm>
            <a:off x="119664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7802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6E530D-5B8E-59BB-41DC-7126ED223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FE63771-2807-7903-2065-97B1F0161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E8E827-D660-27F1-F83D-150A0DD5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DDA3F3-DD8A-5581-9BED-EB5F45F40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A3193C-F1B8-1F14-7389-D63D75E59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8D3D8B-B22D-17AC-DC97-C28D85CE2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A11D21-E0C8-445E-C4C7-2DEE33DA6521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6EA49D-D3A5-87A4-0D31-BC903D91FB8A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0CEAB8B-AF15-7719-4FBB-54194ABD0BD7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3BB3C0-EAF6-E6F8-6CB1-9ADC873C1690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92B217-EE69-43EA-1547-71B666813A9F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7D0F7A4-89C4-6AF8-6CC3-04F9AABDB55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C1894DF-BC58-2DD8-85B2-80F75F16FA3F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6CE2DBF-749D-B1AC-DE31-6ABFA3F9A6F2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217E475-E4C4-E1CB-C11F-D118456F53AF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ediu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.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D8A310B-262F-A71F-5642-2E3D1737AD6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Agendar Workshop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ublicação do BEX (Catalogo)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roposta de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genda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agendado 0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Avaliar  Modernização/D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685548F7-BDFD-DB3C-6867-D7E134EEBA6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A6CFD1E1-7E5C-AFA8-0980-F62514AE7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51E0BC1B-F218-A3EF-0460-97D375E1DA3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353C87F-7C14-7E57-415E-1E0058B39FF2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96EFA56-4DDD-9A18-4947-EAAD00B2E39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BF2764EB-FB04-965D-9482-FA4F8ADB9BE9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72305C7-68A2-8201-555E-29FF5D8D977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F8DAAB0A-FFE0-FD21-4CBF-4459AB76A02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2BE13E28-AC10-0E7B-4152-4D13F02B208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482CF12B-6C94-23B6-F8AD-5EB05A5DC4A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302725C-0C33-AC44-AB09-BEC0FD829BC3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F9FD478B-93A9-644F-EBF4-B7051B18A214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659C8AA-58AF-5885-6DD5-3F8DAD1373E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informou que vai remover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v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Infra  Cancelado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oadmap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Trabalhar nos Reports do DPOD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943D12D0-E647-5A30-46F3-E578F2028CC1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ppliancel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N-PRD 05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rabalhar nos Reports do DPOD 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cript para coleta MON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 06/25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1 d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alth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26/05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01A9912B-4DEA-63F8-1D10-1F8CA0F95CE5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date Appliance PRD  06/2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</a:t>
              </a:r>
            </a:p>
            <a:p>
              <a:pPr marL="573088" lvl="3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V2 novas coletas NMON 16/06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o 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ntendimento</a:t>
              </a:r>
              <a:r>
                <a:rPr lang="pt-BR" sz="1000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BD</a:t>
              </a:r>
              <a:endParaRPr lang="pt-BR" sz="100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Avaliar  Modernização/DR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72C039F-196A-B3CD-63B5-CFC65077566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78826F0B-EEB9-8542-ADD4-3E5F88949A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1F78770C-B89E-E287-6B51-8F3F2C85D8B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897ABD5E-3B0A-197B-5C10-591FEB1CEC8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D21A558C-CD0C-5A5C-B512-3EFCC03BFC1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B6BFF173-7EAB-E849-6D58-F3FDDCCDF88A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8EA16F07-A0D7-8671-2223-3D69C37D164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81137992-2A87-3600-2752-6064105E83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6E5DBB9F-DDE6-34BF-7D0A-540B341FAE9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2BE1DA6-69E7-0C02-296F-12564E64C3C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B2C2B882-8B72-7DD0-DA7F-0C1B5291DE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251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7FD64F-CA25-9E33-8EAD-16F7D04749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175B9E5F-039F-8CD9-4393-EB5EDEB5F1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72DD75-4B99-5FEB-3C11-DF4CFFABC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0C69AD-23F3-55B8-E7B5-D02AF5798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0A0035-FF78-59E3-75AF-EB67824E2B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E3DD64-B239-63E0-CC8A-1C27F307F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297642-77C2-D436-A144-F05145C6A2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anco informou que vai remover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2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date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liancel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N-PRD 05/2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Health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heck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 05/2025 / ?/202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Migração Appliance  Virtual TU/TI/HO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5F7E0-5DB5-A418-E566-C2170EBAC96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73B80D9-67C3-6246-510D-6AB140805252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taPower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 05/08/2025 (PO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8/08/2025 (SM) 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9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4F3088-C63F-211C-44D8-E616EC8FD1F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324FCE80-6F0E-327B-9AEA-FEA7155606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79" t="72928" r="1644" b="7787"/>
          <a:stretch/>
        </p:blipFill>
        <p:spPr bwMode="auto">
          <a:xfrm>
            <a:off x="119660" y="111397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1DE5C987-003E-7FC2-B0B9-43C685F0EEFA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225E46A-2AED-ABAE-C901-014482A0FE53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AAC782F-6169-8DDC-5FEA-77CAB356B364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DCFA736-231A-4F3F-22F7-154B7AA0E27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4EA4945-FB87-B729-CBE1-4352B886016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L?: Atualizar fluxos MQ8 p/ MQ9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 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2FE97CC-C51D-803F-71C0-DE3CFFF28E7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 TU/TI/H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ealth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heck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5/05/25 V1.0 p/ cliente 04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Migração Appliance  Virtual PR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ataPower</a:t>
              </a:r>
              <a:r>
                <a:rPr lang="pt-BR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Desativar 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luxos sem uso PR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Avaliar  Modernização/DR</a:t>
              </a: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57B8492-1CBC-4691-A79F-79BF401D6264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C953F73-DF1A-1A5A-C824-A77F3B1AAD0D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79" name="Straight Arrow Connector 4">
                <a:extLst>
                  <a:ext uri="{FF2B5EF4-FFF2-40B4-BE49-F238E27FC236}">
                    <a16:creationId xmlns:a16="http://schemas.microsoft.com/office/drawing/2014/main" id="{99397BC8-57AB-CDD0-A7CC-9B68246784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Oval 6">
                <a:extLst>
                  <a:ext uri="{FF2B5EF4-FFF2-40B4-BE49-F238E27FC236}">
                    <a16:creationId xmlns:a16="http://schemas.microsoft.com/office/drawing/2014/main" id="{B9C851AA-54EA-B5F6-9564-2311F251DCEB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4" name="Oval 6">
                <a:extLst>
                  <a:ext uri="{FF2B5EF4-FFF2-40B4-BE49-F238E27FC236}">
                    <a16:creationId xmlns:a16="http://schemas.microsoft.com/office/drawing/2014/main" id="{5B3204F6-5289-04E5-D972-196B58CFBA3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8166EFE-9AAE-AD24-4262-5B4FCE4002A5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59ADA8BA-1DB2-90CC-6730-216762D03BA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228FBB14-938C-ACF1-D9CE-D8C80C704FF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067CE31F-8B52-632D-3A44-46D43860337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86" name="Oval 6">
                <a:extLst>
                  <a:ext uri="{FF2B5EF4-FFF2-40B4-BE49-F238E27FC236}">
                    <a16:creationId xmlns:a16="http://schemas.microsoft.com/office/drawing/2014/main" id="{2B7635C0-7E81-EC98-586B-BE60E60F849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B102E5F-908E-48CF-C717-337004FEE675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4E2A489-248B-A301-9579-45009BFA9D4F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59E8DF1-F28D-892F-8B52-384BCC55E5A1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D898D38-D414-6939-F581-B74243F5995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B199382-EE0B-BAE1-1B9A-67A466C8C8E9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19BB059A-DCC8-6CB3-D1C1-DB6348BF237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F5CE2A0-7D0C-667D-2C01-C78289EEBFD2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66" name="Straight Arrow Connector 4">
                <a:extLst>
                  <a:ext uri="{FF2B5EF4-FFF2-40B4-BE49-F238E27FC236}">
                    <a16:creationId xmlns:a16="http://schemas.microsoft.com/office/drawing/2014/main" id="{9C749442-3F84-B78C-4A28-A6CBBA00E6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">
                <a:extLst>
                  <a:ext uri="{FF2B5EF4-FFF2-40B4-BE49-F238E27FC236}">
                    <a16:creationId xmlns:a16="http://schemas.microsoft.com/office/drawing/2014/main" id="{3BD80BB2-418F-2F0A-2991-4613C7A216B0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Oval 6">
                <a:extLst>
                  <a:ext uri="{FF2B5EF4-FFF2-40B4-BE49-F238E27FC236}">
                    <a16:creationId xmlns:a16="http://schemas.microsoft.com/office/drawing/2014/main" id="{BA334031-0A27-F21B-C3F2-FC1927C276F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35BEAF44-BC31-5D96-10E8-1F0EC733B4A3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069FA010-8B84-8AD7-EFEF-471624F6F214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4336848F-C388-7AC0-8CB9-680A44FEABFB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B3FB09C6-4525-B97F-ADDC-64F6559AA522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75" name="Oval 6">
                <a:extLst>
                  <a:ext uri="{FF2B5EF4-FFF2-40B4-BE49-F238E27FC236}">
                    <a16:creationId xmlns:a16="http://schemas.microsoft.com/office/drawing/2014/main" id="{5E6002CC-26EC-DDAB-C217-DAE2B6B9A29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1687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514E84-2ABB-B591-775C-71B9BA56F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9BCD3BA-EC87-E373-A7B3-C1B64FE4BA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FEE3BC-AC07-328A-EC08-F34181AB7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9B492D-902B-2DAD-3825-A21C3A864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DCD31C-BA93-EB3E-4DC4-FDFF2DB8D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7D2A30-9C3A-9327-FEB4-F2F5BDA099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804D4A-0F11-C830-BBFE-DDFCCB8E5997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b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060B5A-EDE7-36BE-37DA-4BF4A2488F82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4D8C5C4-2476-EAE0-83DD-61CEB1955282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DF6AC28-8FC2-E4D9-9846-185A0188318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8710642-B137-A5F0-AF23-FCB05804D72E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B639271-8A3F-5324-75CB-04BC8D7EB683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9C802D9-71F8-AC66-6F36-F96BBA14CF09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CDAAEF1-19B1-98D2-4084-87B55F6A167C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6402C097-A217-8980-EE5E-EEE2968D1AC9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B2298DE-BAFF-51D2-BDD3-DDF7C25E47F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Estive numa reunião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 sobre publicação do BEX (Catalogo do Bradesco)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459788F-B925-BA55-04C4-FF462CC618CC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90F1DF52-45C0-3916-F6B8-0A56DC161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C6F2AB8F-FC98-5365-07E4-2A63822FAF5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5BD00992-05DF-0601-80F6-0931CC77379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30E09F-C317-D472-588C-C9A4E1D13E5B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676B8B57-2AC3-9947-8310-18E48FFCFCD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5EFADD49-2C1E-794F-BC8C-CCD9D8DAE3D2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5679FA2-0215-FABC-B5CF-02F3CEAF101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ED91AFB-4C07-BB45-687A-49963010439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6BA3FEC-9966-3D49-1EE0-F1DB49FEB7A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EE775E1-B0F2-F99E-2365-A8F895C9086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DCD7D3A-F441-19AE-32FB-035B2D05A6EF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10C7A11-7A90-33EE-16E2-0F16F7D37693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1º contato com 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DE3A444-A764-4F6F-786E-830BD50CAAE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Heli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conseguiu uma agenda com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quad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(Ariel)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5E27E1D-CD79-0F01-8426-8755570AC0E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AFDFC03-7025-99B5-1D3F-821DB58005F8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614198F-6980-F70F-AAD4-BC40377DA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D0C0F19F-CE36-DC52-206A-54BAB082DC52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187B643-7E47-9126-21C3-0BF3B617A6A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2EE3F22-1FD7-FF56-DB42-06E0D5B0DE5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F6D29B41-62B7-EE8F-B7D8-9B28FC1BA8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1E5DAF33-8F26-69B4-433C-AC95FD444B68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F76BE388-9C02-44AD-93D8-1F318EF76CC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82CD5838-D8B1-4901-15E8-94A376B85EF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0D580D31-83D5-706E-FAE5-9946439B02E5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64CDD554-CC7F-7C57-A6DB-56DFFA1157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0914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56FF3AC-46D5-F41C-2833-E9F73AEED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1552A0F-D57C-FD7C-6187-5CE01B1A73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E1415B-C3A6-2AAD-4933-33A5DCE2D6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BAC348-37A1-1D5F-6E98-D491EC3A6C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68ED8B-089C-A448-D713-A0E2752980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725CCF-6E75-D604-B0E3-6D8B756F11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B8AFA2-9173-6360-9236-8BB749771129}"/>
              </a:ext>
            </a:extLst>
          </p:cNvPr>
          <p:cNvSpPr/>
          <p:nvPr/>
        </p:nvSpPr>
        <p:spPr>
          <a:xfrm>
            <a:off x="113639" y="4834134"/>
            <a:ext cx="11758109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S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xpert Lab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WAT Team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1F163C-D1BC-C890-392A-4BFB426F34C3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5A950D8-9E35-2477-3D27-24CFD6CB8523}"/>
              </a:ext>
            </a:extLst>
          </p:cNvPr>
          <p:cNvSpPr/>
          <p:nvPr/>
        </p:nvSpPr>
        <p:spPr>
          <a:xfrm>
            <a:off x="113639" y="1443952"/>
            <a:ext cx="1530643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8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IC</a:t>
            </a:r>
            <a:endParaRPr lang="pt-B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0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el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yana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 05/08/2025 (PO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8/08/2025 (SM) 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9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58572D-491B-2039-301F-737E78472E0E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4" name="Picture 4" descr="IBM Cloud Pak for Integration | IBM CP4I">
            <a:extLst>
              <a:ext uri="{FF2B5EF4-FFF2-40B4-BE49-F238E27FC236}">
                <a16:creationId xmlns:a16="http://schemas.microsoft.com/office/drawing/2014/main" id="{E53CA020-5A23-213A-8B2C-1CD09E6FD0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72320" r="89003" b="7839"/>
          <a:stretch/>
        </p:blipFill>
        <p:spPr bwMode="auto">
          <a:xfrm>
            <a:off x="113639" y="111395"/>
            <a:ext cx="1134808" cy="117339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EBE480E-36DF-9C26-3B7C-C08B1196F894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B26B9B6-67FF-0F68-2023-BAC776EEF9EA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4116266-3F8C-19FB-E350-477928AAC47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26276A5-D13B-CC1A-8378-4815A1FC3F66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72FE395-9A45-CED2-D933-75DE0C176C90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2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B3446A-C275-01ED-4A0E-471FBF6AFBD3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3º contato ao time do banc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B1A2C29-3699-811D-9DA5-DB4084DE2485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E358C9B-6A6A-7090-5B2F-F27CB3511A04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8D12302-94DC-ABBA-63BA-FF33153D0B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DB0203E7-9CDA-3785-C89A-63C88BFD5BB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1E021280-2C14-A194-4EC8-A33B5A8A253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3DDEA584-7FB8-8EC8-38B0-9E224B19679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6256F3C-187E-F3A8-F0D1-AF28B994336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7BDE0AA-47B4-B24B-B981-E2697947E6B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A4E8A768-1D09-3FAA-EC26-37C47ECB8E8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016DA2A-4D24-4F9A-66A2-39AE30C5665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DF1C846-14EE-274D-0AC4-DB0C5E2C7EA6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5669CC2-2DEE-8427-18E1-BAA41B31889A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1B132F9-7475-86AC-259F-3F2FCE798576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7294704-483A-8F95-3B78-2304D4DB74CC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83FD0E1-BABC-7153-BF4C-6EB4A2BACF36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17616F4-05EA-C066-EA0F-BCD25B149B24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C3701B7-45DA-E3B1-6C34-0B25035D6F8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FB53432F-69BB-BF73-54AC-3360534054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EFECC971-682D-3E88-FB69-DCA2A2574A8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E9EAAD27-F5B3-CC2D-4666-E75582706A55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44D0E092-883A-31C6-2D13-B98797A41A62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D3A59BC1-5111-11C6-AA4F-D70E9A6454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0208129C-D4E5-CF57-076F-A768C104F2B4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02D44AA-226D-E948-FB70-20A461DEA787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10F8B554-AE5A-93AC-4C07-CFDCD625859E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80633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F29316F-C61B-A20B-C2A6-047D7E6E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27FA5F4-CDEA-CCBD-5B9C-544F90A5C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ECD57E-F7F4-2E05-9C35-648C8C498E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E80BEE-6605-97B8-8555-1320650B8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15799B-C80F-6702-51F9-601AD7FDE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8FEE31-E35E-3322-F9FC-EE7266F66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E4017E-2FB5-2725-D55B-A9C8F8244E96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Reunião – ?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9EB5E6-CD70-2E66-69F6-6B8A99D28FF9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5EDB74-1E17-9AB7-61DB-7DE3D18D1B03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850322F-BBCA-2C29-B97F-D576217350FE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7BF6202-1CB8-0FB2-E8D1-8089C378D5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1839237-DFC8-4E02-D5B6-729C2ACEE85B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CBCFB7F-8C34-2392-0264-5C40BEFE20CB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7C770EC-A400-DDCA-120F-7EAD19156883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229D543-311F-C4D7-24BB-207C1F47A30A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Montar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08B2C78-A0D7-766A-E96D-8050B99AF58E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Path Upgrade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76B603F-9DF7-56F6-15AA-700073395BF3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38A09CEF-E40E-4828-6F7D-05AC1B031F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5A078E-7206-2C42-7498-D3D1CA08353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31292460-6E8D-828F-B0C2-0E2D460C5763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9289F5F-B1F0-E5EB-35C3-4D39114C1F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E674D103-C54D-D450-6164-3F23CF0B8672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44770ADB-957A-1D1F-F590-285061A3485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28FEBCDA-8BF3-30A8-8C22-3A498018610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47DCDB2-95D3-3F05-2035-CA626F6A4A1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A5A1612-9ED0-A7B0-25DA-3BF487123098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E01FB407-F185-89BB-F348-C5B07D874DD1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A6D91FB4-A02B-0A44-21A0-3123AF71C47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85A1DF2-B748-8DFB-A47B-F2735F7B2E06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S  20/03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Upgrade DEV  28/02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44D5055-8298-C85F-9B17-C8D84FE80105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HML  21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A4D31653-F4FB-5718-5D6A-AAA87FBFB70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PRD  17/06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Material – 15/05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–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16.1  TB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092AED3-A89F-AABD-CC5B-F71F51C33D5C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8043E791-149A-EB9C-A360-6C876473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CB0F23C4-8AB2-73E9-617C-E68C1C8D73A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FB030E01-4500-B262-4304-DB503353DB3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8168387-7B8B-38AA-8CA4-FC046202A87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C21A5719-4924-6BB3-DAA1-AD3F02F26F7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EA788187-33F4-7679-5830-9D2F7353911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0CBE556-8EF0-110D-EBA6-A4CA953912D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9D6843E-406C-730B-5807-0ECCCA05DEE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2DFA26F-FA3E-F95B-8798-ABBABC9501F3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D129A4EE-8EA1-2174-7897-E5D7468F1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0388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0FD8CE-9594-8693-3CDD-7E5730C31C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4998B75-F2B9-970C-125F-88B1725DB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DE3168-E06F-EAB9-11D3-B63026B7D6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809DDF-AC0B-E220-9213-89F5931E8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2B72EC-022F-F07B-A5CA-A46E98F90C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0B0E92-AD0F-3240-9AEB-B46555BA25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34041D-0EE9-2E08-37B1-449B15E208B9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DEV  28/02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S  20/03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HML  21/05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Upgrade PRD  17/06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orum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Qx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Kafka –  16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C195A0-DAAF-9FB2-7941-3087DB52F0A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3240CD6-2B10-C098-2A7F-75BB361D301F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E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t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tream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7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 05/08/2025 (PO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8/08/2025 (SM) 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9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8F15688-47DD-5729-776F-2B14F5A86CE8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17" name="Picture 4" descr="IBM Cloud Pak for Integration | IBM CP4I">
            <a:extLst>
              <a:ext uri="{FF2B5EF4-FFF2-40B4-BE49-F238E27FC236}">
                <a16:creationId xmlns:a16="http://schemas.microsoft.com/office/drawing/2014/main" id="{176722F5-039D-78A6-9959-FDE3DD4868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4" t="71168" r="36709" b="9547"/>
          <a:stretch/>
        </p:blipFill>
        <p:spPr bwMode="auto">
          <a:xfrm>
            <a:off x="120586" y="109916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EA86893-79F4-0D95-E959-C0EB9B0B372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A45863-176B-33D9-C286-109660868F68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CEF9E3-5534-6C6C-A062-168A1496EAD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5CAE237-E098-2204-D33A-3B4906EFF7EA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D6689CC-C971-5649-EA3E-E505D86EF02D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orum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QxE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/Kafka – Reunião  16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6B5A268-14CD-DB5E-F783-F0443CEDD95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4: Upgrade 16.1  TBD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528E1CF-FF39-FE07-5067-1BD83C433B06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01FCB98-1874-5824-0B48-E8CCEB32B397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26F25E97-747B-3CFA-A74B-2AB4DF6A97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A5650CA6-6C57-4C14-376B-2AAF0B80E228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C2026915-4C3B-30AE-6FE6-37AAABE6C430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93C7A8D6-1884-586F-4987-B7F6D534833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6BFA90B0-F8C6-3288-7A6D-E9D5F2804ACE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69361E3A-9001-7198-8BA2-FACBE85C2E1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7EC1D4F8-D415-2AF1-C6D8-6692A545FCCD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94D65C90-3BC8-E9E4-F138-F9F3200E46AA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C870387-5F37-CD20-3C0A-5BEF76CBDEB2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C4AD673-F80A-D06D-8672-EAC7A8C112ED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614C06A-033B-0E28-78BA-25C0F6EFB207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5185382-1CF7-8015-29AA-6C05968A191D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2EB8DF9-D424-A7ED-1716-9AE108FEA23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AC12A0E-0ACC-DBF9-0812-45C12978F0A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B98F8CE-2FAB-3E1B-A695-1FA5EED70C23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B2787B90-150D-01C7-8659-145EA969A1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7782A22D-A24A-0FF7-087F-29604140DF07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BA23FC64-454D-50ED-95A3-80B6566AC351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CF9E76DF-7D04-91C1-478D-36AFB426BB5D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05DE9925-653D-3245-3DF2-38EFC71569C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A457287F-4463-7DB0-E47D-4D10191DFC9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E5ABA1DC-805F-89E2-C28A-65EBA14B989E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F9D8A3A1-3499-FA18-5A0D-9BE01564DEB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4511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89F5593-04C0-FD90-67B9-4314ED81A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523CA803-49C9-7176-ADB1-6351697ABF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DD14E1-019F-9ADB-44D0-586B85A58F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A418BE-1E1A-2C1B-1100-A3DC5B140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E44BDB-DFFD-84B3-EF18-E7C7E56E6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E793AB-54BC-7C73-C32F-C2F3A58E6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62985D-E8A5-272E-A7D2-DB062DFED794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1F81E4-9E97-014E-E5E3-3A19CEFB5E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C88DAF-9EA1-4D27-9DE8-01AC0E713E71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CAD174-7011-2078-888A-719156E29271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EAC7F3A-E877-C292-7259-38FC3BD6BBC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15515C9-A923-2A53-8477-B4F700B30B39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505C89-5BA8-EA88-9ACB-7B582283C72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DF0EC68-8AA2-11E8-4593-5684D337EAB5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057D09E-456F-F90C-3B29-739BECA40691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F575C0E-CED2-7A2A-7B88-04E95FAE909F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 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7B48BD7-8C49-A91F-37BE-661D3378BA05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641B8D4-D799-FC50-9E70-26B4CB361D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716DCE07-3401-36FF-B4EE-5117203CEE1A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B9B7CA65-B713-4D9F-1CCA-DAF4EA1AA0AE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48834FE-3EB7-00F4-43EA-7A410DF2F79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5CA27B49-006F-CCCD-1871-E2784C7035A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3F106C80-2C7A-7C6B-A244-93870F602627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3018C528-252E-E160-DF32-B81A8D3431C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B9501EBE-AA1B-B5E1-C2A3-EAA5C05B944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844D11A7-00CB-B589-8414-BBBE4313250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7BCB2C51-A88E-FBA1-4E28-FD6D1173A33B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2CBFE87E-5FAB-212B-0373-7716D3F572E5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D232A667-E19D-F672-84FD-611DF0343022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Event Automation  19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BA989D99-5904-8C2C-7F42-B8BB456FE6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3742925B-5E64-CE57-70D5-6C20A7EEB91B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BD1ADDD-AB1A-3B83-D66C-BEB84E42A0C6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E78D5882-E039-8EB7-DECD-B8F087CADB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33AE82A3-DF4A-2F55-162B-5D013E7DE97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259249-3FE2-6ABD-04A3-9046DA993BE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12BA12FA-AE4A-8C9F-F4AE-9F08324810E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DD27C84A-2F99-163F-29F8-2E7D04E7B2F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51249A74-A180-AC9B-171D-1DCE04DA4A3E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7DD43BDF-6AD0-5399-C9AF-0BBB32E737F4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294F512F-44D6-2478-677B-827840F6ACC8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FB80AE3-8627-DB62-4890-5CD7AD9D010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A15D8CA-F821-BA5F-0FC5-2E0F9EE988FF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E58EA3-D56A-F7A6-C628-9E0EDA74644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18172668-9698-80F8-A6CF-EFDCFD4D12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59291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3DE3845-DBC7-2BC0-CA9E-048333408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DB8C1C8E-1611-C62F-6477-A6652F1337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2E6957-44A4-9290-38A7-E34963EEBF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6271B9-E207-B6B0-CEC8-BCC44D846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14A294-B2EF-02ED-A80D-1808DBFC59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A61408-34CB-A3B4-5666-9E34C9E59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5A6BF1B-5561-8791-5479-F76D8E484DEF}"/>
              </a:ext>
            </a:extLst>
          </p:cNvPr>
          <p:cNvSpPr/>
          <p:nvPr/>
        </p:nvSpPr>
        <p:spPr>
          <a:xfrm>
            <a:off x="119605" y="4834134"/>
            <a:ext cx="11752143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Event Automation  19/03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C.E. p/ ajudar na POC TBD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oC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Event Automation  TB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.E.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F65342-C511-7D7C-D939-924C411361B5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BCF68D6-1E13-16AE-4669-BC590EB9C23C}"/>
              </a:ext>
            </a:extLst>
          </p:cNvPr>
          <p:cNvSpPr/>
          <p:nvPr/>
        </p:nvSpPr>
        <p:spPr>
          <a:xfrm>
            <a:off x="119605" y="1443952"/>
            <a:ext cx="1524677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 Automation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 05/08/2025 (PO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8/08/2025 (SM) 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9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42BABB4-70E2-6EE8-13A2-9C7DBAD1FF5C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B6E962-7837-4BB0-26E7-EE3AA20B0D0C}"/>
              </a:ext>
            </a:extLst>
          </p:cNvPr>
          <p:cNvGrpSpPr/>
          <p:nvPr/>
        </p:nvGrpSpPr>
        <p:grpSpPr>
          <a:xfrm>
            <a:off x="86999" y="101925"/>
            <a:ext cx="1164886" cy="1186493"/>
            <a:chOff x="8274676" y="5252304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65AC7FA-F0C8-AB54-F3F1-34023B07421B}"/>
                </a:ext>
              </a:extLst>
            </p:cNvPr>
            <p:cNvSpPr/>
            <p:nvPr/>
          </p:nvSpPr>
          <p:spPr>
            <a:xfrm>
              <a:off x="8274676" y="5252304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IBM Event Automation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2" descr="AWS Marketplace: IBM Event Automation (software)">
              <a:extLst>
                <a:ext uri="{FF2B5EF4-FFF2-40B4-BE49-F238E27FC236}">
                  <a16:creationId xmlns:a16="http://schemas.microsoft.com/office/drawing/2014/main" id="{4A652D3F-4310-86FC-3CB5-55C15DFF36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6257" y="5290941"/>
              <a:ext cx="802633" cy="755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A14A5F3-1445-0025-2494-C968B5C32852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A46A44A-B9A7-DE65-1287-CC0F5BBE3A3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B6B450C-A42B-4148-1465-D421916A2A2A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E482327-75A8-92AB-6344-AB62D6A3F65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82B7A9-65A0-DC3C-2284-96E2381B9831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72221CC-86B7-B187-3DE0-6EE1620D3FF0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C.E. p/ ajudar na POC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oC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Event Automation  TBD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IBM Cloud para teste  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         - Ambiente OCP para teste  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lvl="2" algn="just"/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148E47A-ECE8-A2EA-D04B-BD002968280B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952B14-4F55-5964-76F3-BEB204715EE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5D4A7B8C-D1E4-0607-D4D7-CE34257920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7D58E103-7E76-CC45-6FD8-C015601B2ACE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CB1E9E78-3E66-0A44-E7D0-99EEDE8E117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0F9CC155-D98B-5E02-7317-43EA16CD6B8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BF8CAB7B-9510-03DA-58D6-27801BD8BA5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CB739F01-AB81-DFE8-2E5E-0B2F33B9AAB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5D87E90-6BAF-67F4-0424-76F42CC41F7F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23071D03-B58B-2050-1C5D-D91F6BC3AF2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369F56F-4750-0472-1FF9-8952838A3C23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103AEFD-138C-B57E-8057-C21A69EBE8B7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6979F4-A11F-7641-1646-0976ADAAEF8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07DE29D-A949-082A-CFBA-4920A55E6FAA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ADE3D72-FE72-1F94-CDE7-E38F8B4F02CD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A9F5F7-74AB-C8F6-F7E2-62FD5262C926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FD786B4-A2B5-199F-B436-361575C35EE1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9CDF91D9-C4A9-C664-3581-47854F30B4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CA1B0CD1-3708-A5C1-9609-1C58791AF431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7F648610-0A35-657F-1405-26E81F8F328D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B615FB4-A5C8-D6B3-B3CE-9E3192366B66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FD068B9A-8122-7718-B5AE-D42331F00F17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46A376FF-6711-2C1C-179D-C897C7DA8101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F832768D-FE31-971F-2372-CBB4908EA3C1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EE2DDE3B-2306-94C2-D694-013CF8EB142F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6779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6BFFEC-1304-3A5C-BFF8-2991C5E9A961}"/>
              </a:ext>
            </a:extLst>
          </p:cNvPr>
          <p:cNvSpPr txBox="1">
            <a:spLocks/>
          </p:cNvSpPr>
          <p:nvPr/>
        </p:nvSpPr>
        <p:spPr bwMode="auto">
          <a:xfrm>
            <a:off x="280417" y="268224"/>
            <a:ext cx="8530609" cy="45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HelvNeue Light for IBM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Agenda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4F13B2B3-0098-14C6-4598-640B655A99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09BA1D0-45F1-1660-384B-4B1043BFC997}"/>
              </a:ext>
            </a:extLst>
          </p:cNvPr>
          <p:cNvSpPr txBox="1"/>
          <p:nvPr/>
        </p:nvSpPr>
        <p:spPr>
          <a:xfrm>
            <a:off x="280417" y="1596147"/>
            <a:ext cx="6661906" cy="3334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 err="1"/>
              <a:t>Apresentação</a:t>
            </a:r>
            <a:r>
              <a:rPr lang="en-US" sz="2400" dirty="0"/>
              <a:t> do CSM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Licenciamen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Paks / Licens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tividade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ctivitie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Chamado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Cases</a:t>
            </a:r>
          </a:p>
          <a:p>
            <a:pPr marL="380990" indent="-380990"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Ciclo de vida / </a:t>
            </a:r>
            <a:r>
              <a:rPr lang="en-US" sz="2400" dirty="0">
                <a:solidFill>
                  <a:srgbClr val="000000"/>
                </a:solidFill>
                <a:latin typeface="Calibri" panose="020F0502020204030204"/>
                <a:ea typeface="IBM Plex Sans" charset="0"/>
                <a:cs typeface="IBM Plex Sans" charset="0"/>
              </a:rPr>
              <a:t>Product Life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Pontos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adicionai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 / Additional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IBM Plex Sans" charset="0"/>
                <a:cs typeface="IBM Plex Sans" charset="0"/>
              </a:rPr>
              <a:t>info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IBM Plex Sans" charset="0"/>
              <a:cs typeface="IBM Plex Sans" charset="0"/>
            </a:endParaRPr>
          </a:p>
        </p:txBody>
      </p:sp>
      <p:pic>
        <p:nvPicPr>
          <p:cNvPr id="2" name="logo2-04.png" descr="logo2-04.png">
            <a:extLst>
              <a:ext uri="{FF2B5EF4-FFF2-40B4-BE49-F238E27FC236}">
                <a16:creationId xmlns:a16="http://schemas.microsoft.com/office/drawing/2014/main" id="{666C7F2F-6226-68C2-8804-B15852190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0932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1760ADB-31B2-CEEE-AFF7-899FB8244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639F01E6-1A2E-6F2A-CE39-C728E2B9A7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6182DC-7470-15A9-59E1-EE615DD7E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DC2CA9-30E6-DD2E-B228-425DF95B1F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8CC2FC-EB3D-F255-B119-95F32B19DC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7CF0D0-36FC-548C-792C-BE8577B2E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6A3D98-2777-26D4-8051-C5520A52387D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B3E57F-9E28-F6D5-E8A8-6808B8107D88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64E4895-6EC3-B658-BE73-CEDC3F0FCA20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4C903B-C9E7-EBCB-562E-7929594CDB5C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CF7DB5E-8652-2276-4F76-C4F79566E19B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739E7B6-899B-E911-7A2B-12EA77F4F608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510F789-7566-7558-B358-2B91730C2D87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4124AF-FBD4-9951-9A8F-0872FD4B94DF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9D61ED8F-87BA-8133-AB13-EF9B53087708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60CB04-7B34-3B67-C703-D07B81742FB8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pediu reunião sobre ACE  25/03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176F5F8-A78D-C308-CFF6-21152703F2E0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23EE0A92-9447-F68E-F1AC-F65FDA7B54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AA679B07-272D-1B4E-955D-2670B5974F4D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8E76A83-59CA-5076-DB11-D4939EADB2D4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A716F47D-1446-B1FB-5CFE-2BABCC4A37B8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A41FD878-EEE5-33E9-3661-CB754684759F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CD8F4414-1FA1-6831-5BF3-39F3ABABE73D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E3B1FA1E-F365-53D3-60FA-98DEB672D598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0E3731DE-F2F6-1435-EDBB-0470FB931A8C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080FD46B-F993-9463-B0B1-329A70C68E1E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9FACF6A-EE39-C659-B9B4-8E0FF3EA3440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55CDA0F-6D8B-CA41-003F-123579E5066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369CFBBF-293C-BE50-0DFD-05E69491B1FD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 15/04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Workshop ACE no OCP  17/04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C9A9EB1-C2BA-6E90-2B14-082B24B7B3B2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F807E0E-3292-7D4E-C9CA-247931895140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4B820A4-405E-6DD7-E5F2-1F79AF5770AB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5B649489-55DA-EB26-88A2-BBBBE8D858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A5D8E7D9-A1F9-3708-EE96-EA1DB2083176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A9E9D0EC-D4AA-03F0-B422-85364FCD7DA7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BADCE93-4DA7-7D42-4457-D88BD4F2C149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EBC234A2-9260-FF6B-7BC8-0F5D77B9E668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6053CC38-877D-A4B0-8892-511CE67804C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9B0CA75D-239B-CCF2-97D6-3B7F7E46BC2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DE5E8C50-3AD6-4E53-078E-5749FE68A950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BCD64E1A-AF3F-F8B8-9032-C6F745B9FD8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4D32BB70-E526-C2D8-F717-A71C7BFDD2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2099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7A7CD7-3C8D-135F-CF70-BDD0862A7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DA3C7EA-04F6-C4D4-82D7-8EAF62856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9A4970-5745-21D3-F271-27DD7E44AB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FE2A9E-217D-135D-AFBA-7026D43BF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698E07-842C-C87E-BBC8-F60E16F5B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7BE9DF-D30E-E6FA-3DFE-4E4C3333E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C320DF1-CEEC-6597-903D-66F6996CC06B}"/>
              </a:ext>
            </a:extLst>
          </p:cNvPr>
          <p:cNvSpPr/>
          <p:nvPr/>
        </p:nvSpPr>
        <p:spPr>
          <a:xfrm>
            <a:off x="119296" y="4834134"/>
            <a:ext cx="11752452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 15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Workshop ACE no OCP  17/04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Hands-on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07/08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9BB887-0447-02C8-D02F-5BFE6CE63AF0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B9DD5C0-FD83-6E13-DA3F-9EB5D1215197}"/>
              </a:ext>
            </a:extLst>
          </p:cNvPr>
          <p:cNvSpPr/>
          <p:nvPr/>
        </p:nvSpPr>
        <p:spPr>
          <a:xfrm>
            <a:off x="119296" y="1443952"/>
            <a:ext cx="1524986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p Connect ACE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00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 /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raldo / Anderson</a:t>
            </a:r>
          </a:p>
          <a:p>
            <a:pPr marL="0" lvl="2" algn="ctr">
              <a:lnSpc>
                <a:spcPct val="10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900" dirty="0">
                <a:solidFill>
                  <a:schemeClr val="tx1"/>
                </a:solidFill>
              </a:rPr>
              <a:t>21/02/2025</a:t>
            </a: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2/07/2025 (SM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 05/08/2025 (PO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8/08/2025 (SM) 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9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12F88F-FD9F-051D-8CC0-BA75A16CE2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4" descr="IBM Cloud Pak for Integration | IBM CP4I">
            <a:extLst>
              <a:ext uri="{FF2B5EF4-FFF2-40B4-BE49-F238E27FC236}">
                <a16:creationId xmlns:a16="http://schemas.microsoft.com/office/drawing/2014/main" id="{60883B20-170A-3A79-BDC8-721C5943D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2" t="72442" r="71921" b="8273"/>
          <a:stretch/>
        </p:blipFill>
        <p:spPr bwMode="auto">
          <a:xfrm>
            <a:off x="119296" y="105032"/>
            <a:ext cx="1128789" cy="11864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7508E8A-B6F8-780C-6588-A11CDC7C5033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E5CFB6A-5C45-6A14-9024-A67ED1075F92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B6A7FEF-9D20-896E-F8B6-5D42643B68C6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22BC20-F511-4CEF-44A3-E393F96BE6AE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68E3393-648F-77F6-8944-5C57FAA2916A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Suporte/trabalhando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Upgrade IIB V10  ACE TBD</a:t>
              </a:r>
            </a:p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Futuro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?: Modernização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penshift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6BCE06-A099-3332-3A4E-04313840D705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Hands-on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07/08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6B09366-31F1-5E49-A0C1-4761AE67D9DA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D96706D-6B5B-67D6-6984-0CF4E26EFBC2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38" name="Straight Arrow Connector 4">
                <a:extLst>
                  <a:ext uri="{FF2B5EF4-FFF2-40B4-BE49-F238E27FC236}">
                    <a16:creationId xmlns:a16="http://schemas.microsoft.com/office/drawing/2014/main" id="{BC9366B9-A6B7-F9CC-C2A7-CD531F3B5D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Oval 6">
                <a:extLst>
                  <a:ext uri="{FF2B5EF4-FFF2-40B4-BE49-F238E27FC236}">
                    <a16:creationId xmlns:a16="http://schemas.microsoft.com/office/drawing/2014/main" id="{CDD89241-EDBA-038B-EBAF-6AE24FC9839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Oval 6">
                <a:extLst>
                  <a:ext uri="{FF2B5EF4-FFF2-40B4-BE49-F238E27FC236}">
                    <a16:creationId xmlns:a16="http://schemas.microsoft.com/office/drawing/2014/main" id="{AE693164-AB41-47A9-9AEC-834985778B7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C5673D4D-856F-9101-46BE-6A2308B1C750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A93147F0-B6E6-73BE-60B2-B45EA0774E8B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3C903FED-2A51-08A5-3259-A22EE8055EE6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D11439B6-9503-3D97-6C27-AED0025EB2C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342D7B49-94AE-89E4-A08B-E431C2A21E4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0B98171-897E-5F4D-A3A6-771630651977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4F82376-696C-45DD-62DA-5573AD16FCE5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B23EC7-4462-F003-E2CB-05C5A934F2C8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F608870-C126-3D8A-F972-E1E49F44A870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7039152-0441-77F8-0370-B53617767D88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5C9DC6-2FBB-F19E-5A44-9A2FF5E4A17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4F2517E-EC99-815E-F5D6-584EB8382A1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0" name="Straight Arrow Connector 4">
                <a:extLst>
                  <a:ext uri="{FF2B5EF4-FFF2-40B4-BE49-F238E27FC236}">
                    <a16:creationId xmlns:a16="http://schemas.microsoft.com/office/drawing/2014/main" id="{77C693DA-3E66-40E9-756B-B4DD5E4DA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6">
                <a:extLst>
                  <a:ext uri="{FF2B5EF4-FFF2-40B4-BE49-F238E27FC236}">
                    <a16:creationId xmlns:a16="http://schemas.microsoft.com/office/drawing/2014/main" id="{2FF3D19F-7CE9-548B-7D46-5F816D523A64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6">
                <a:extLst>
                  <a:ext uri="{FF2B5EF4-FFF2-40B4-BE49-F238E27FC236}">
                    <a16:creationId xmlns:a16="http://schemas.microsoft.com/office/drawing/2014/main" id="{47545403-9120-06C2-0979-7A7898F6CDB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11F6EA7-8C5A-6F50-74D3-BB4FDA47756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BBC804A9-7266-8E16-EA24-075AB5A1901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F26743A-6CDC-05E2-78DF-FFD3C4676BB3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634930C-EDEE-A8B5-6920-BF4F4F78B3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0783179D-43F3-9C03-0649-158B8AB4B714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48881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B4A556D-C4C4-CACE-18A0-8267CA61C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820637-5E19-8750-F6A3-0B8F8E7D06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DD82EE-D19E-9352-EB2E-B7EB0FE26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E3BF2B-60AE-0E7F-A991-F94DAC83D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8F82AA-D0A8-6EE6-E14B-7DC111A89A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54169C-B2C3-C120-8D38-ADD807138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39FFC7-C8FE-B04C-1F7F-6B700F83E17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A5FC8D-540D-72F5-FDCC-F430088E47F4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54E3DC3-C85B-106D-EFEC-18DE52F173C9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r>
              <a:rPr lang="en-US" sz="11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11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7/06/2025</a:t>
            </a:r>
          </a:p>
          <a:p>
            <a:pPr marL="0" lvl="2" algn="ctr"/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>
              <a:lnSpc>
                <a:spcPct val="100000"/>
              </a:lnSpc>
            </a:pPr>
            <a:endParaRPr lang="pt-BR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0CAF1FB-7777-2EE2-3476-02238ABBD63D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1C60011-B05F-78FD-8FD3-D766F29A69FD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A3F0553-87E7-2A13-7CA9-3D4CCE8B913C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2CA67377-FF1B-FD27-A108-13E225FD3363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3C03DBE-4C2C-9097-A8A0-31FEEF4A5279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Banco fechando os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OKRs</a:t>
              </a:r>
              <a:endPara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/A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D053FD7-B453-B5BE-B961-62E50D25F286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Novos pedidos: 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Discover a Project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</a:t>
              </a:r>
              <a:r>
                <a:rPr lang="pt-BR" sz="1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Aspera</a:t>
              </a: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– 27/02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EA856FA-4CB2-2C61-F3C5-EE038ECA200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2: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ustomer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decided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o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use Sterling – 28/03</a:t>
              </a:r>
              <a:endParaRPr lang="en-US" sz="1000" strike="sngStrik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9FD396F-5AAF-3852-7D8A-3E9DA3EFF9D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9" name="Straight Arrow Connector 4">
                <a:extLst>
                  <a:ext uri="{FF2B5EF4-FFF2-40B4-BE49-F238E27FC236}">
                    <a16:creationId xmlns:a16="http://schemas.microsoft.com/office/drawing/2014/main" id="{BF737671-A4E4-099F-3843-D1E6050B0F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84EADB47-C759-CE5D-693B-7190AC6FE0EF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Oval 6">
                <a:extLst>
                  <a:ext uri="{FF2B5EF4-FFF2-40B4-BE49-F238E27FC236}">
                    <a16:creationId xmlns:a16="http://schemas.microsoft.com/office/drawing/2014/main" id="{099F7A39-6770-03F0-212B-169A491F357F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9AF6EF8E-934D-4A05-F23F-D686942695AA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98E1EC31-1D19-6D36-104A-ACCA99FC66B6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an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D11E481E-0EEF-B54B-D4A8-A9F3F17E85F5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Fe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7B0E9A9C-9717-ABBF-7F01-920ED2C51AE9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r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53" name="Oval 6">
                <a:extLst>
                  <a:ext uri="{FF2B5EF4-FFF2-40B4-BE49-F238E27FC236}">
                    <a16:creationId xmlns:a16="http://schemas.microsoft.com/office/drawing/2014/main" id="{A002A2B5-0C2D-6592-EBBC-36DB3079DA56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A9B2857C-914B-A100-58FB-C04A09B3D3EC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3F39555-A747-61BE-E142-5266BD48BD6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D7A9DD9-43B8-ABBE-AECD-DBE0722D9212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955DE37-6ECC-18A5-EA85-29F422D1AAC0}"/>
                </a:ext>
              </a:extLst>
            </p:cNvPr>
            <p:cNvSpPr/>
            <p:nvPr/>
          </p:nvSpPr>
          <p:spPr>
            <a:xfrm>
              <a:off x="2422792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F80D2D9E-92E7-26D4-952C-8B11A71498D3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BAF7EEA7-947E-1479-43E9-2CDA17312C1F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Tentando descobrir caso de uso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5B9FCA6-3A0D-8906-20B7-D10C3FAEA3DE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117" name="Straight Arrow Connector 4">
                <a:extLst>
                  <a:ext uri="{FF2B5EF4-FFF2-40B4-BE49-F238E27FC236}">
                    <a16:creationId xmlns:a16="http://schemas.microsoft.com/office/drawing/2014/main" id="{FA0607AB-8458-9BF9-CC66-2BB755E41A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Oval 6">
                <a:extLst>
                  <a:ext uri="{FF2B5EF4-FFF2-40B4-BE49-F238E27FC236}">
                    <a16:creationId xmlns:a16="http://schemas.microsoft.com/office/drawing/2014/main" id="{4A02BDB1-B838-9519-EA26-054D6F9F9F53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val 6">
                <a:extLst>
                  <a:ext uri="{FF2B5EF4-FFF2-40B4-BE49-F238E27FC236}">
                    <a16:creationId xmlns:a16="http://schemas.microsoft.com/office/drawing/2014/main" id="{6BB065F5-3EAE-0DB0-30AA-85D88D5F8439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C4330F4A-9FEB-A20A-4C3A-EAD2A7FAC8B1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6F424DCA-51B1-18CD-221E-666ED75C77DD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 err="1">
                      <a:solidFill>
                        <a:srgbClr val="1D3649"/>
                      </a:solidFill>
                    </a:rPr>
                    <a:t>Abr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41C61B72-F1C7-C5EF-DF49-43E21B246D8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Mai/25</a:t>
                  </a:r>
                  <a:endParaRPr lang="en-US" dirty="0"/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2F96ED2F-D6DA-C8F1-8241-D9DB8985E8C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Jun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121" name="Oval 6">
                <a:extLst>
                  <a:ext uri="{FF2B5EF4-FFF2-40B4-BE49-F238E27FC236}">
                    <a16:creationId xmlns:a16="http://schemas.microsoft.com/office/drawing/2014/main" id="{FC16EE2D-4F56-C2DE-EBE5-B27E0715F64D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E05552A7-E220-2A6B-955A-25788FBAB841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7D793E5-A78F-CC92-ADBD-B5E4C40DEC29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492AF03-BD2E-726E-FDB9-396771EBB71E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4DF7B050-B255-12A4-74DA-B638D26892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286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899321-7A17-E1C0-FF0B-F6FC4BC18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F27B2B2C-12C5-AFEC-AE10-D7583BB03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67AE9D-61A2-6D0D-6DFC-A5E2CDF584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C702B8-252D-160A-2B2F-ADD9C8B7EB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9C93C8-CE0A-1742-B390-C1DCA883F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A295A54-6A7B-7301-9226-59E619CDE0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B2F2C4-8388-EE3F-5EAC-EEEE437649D6}"/>
              </a:ext>
            </a:extLst>
          </p:cNvPr>
          <p:cNvSpPr/>
          <p:nvPr/>
        </p:nvSpPr>
        <p:spPr>
          <a:xfrm>
            <a:off x="108713" y="4834134"/>
            <a:ext cx="11763035" cy="19124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0" lvl="2" algn="just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entos/Ações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2: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ustomer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ded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o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use Sterling – 28/03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3: Workshop 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ebMethod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(</a:t>
            </a:r>
            <a:r>
              <a:rPr lang="pt-BR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e-sales</a:t>
            </a:r>
            <a:r>
              <a:rPr lang="pt-B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Victor)  23/07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mes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volvid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é-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endas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lting</a:t>
            </a: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15888" lvl="2" indent="-115888" algn="just">
              <a:buFont typeface="Arial" panose="020B0604020202020204" pitchFamily="34" charset="0"/>
              <a:buChar char="•"/>
            </a:pPr>
            <a:endParaRPr lang="pt-BR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óximos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assos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just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600DE0-9DE7-3D5D-2C73-A7CABD9E6D8F}"/>
              </a:ext>
            </a:extLst>
          </p:cNvPr>
          <p:cNvSpPr/>
          <p:nvPr/>
        </p:nvSpPr>
        <p:spPr>
          <a:xfrm>
            <a:off x="0" y="882328"/>
            <a:ext cx="12191996" cy="1002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B4211E-7542-804F-6A2C-88ECB3514525}"/>
              </a:ext>
            </a:extLst>
          </p:cNvPr>
          <p:cNvSpPr/>
          <p:nvPr/>
        </p:nvSpPr>
        <p:spPr>
          <a:xfrm>
            <a:off x="108713" y="1443952"/>
            <a:ext cx="1535569" cy="3390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lvl="2" algn="ctr"/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</a:t>
            </a:r>
          </a:p>
          <a:p>
            <a:pPr marL="0" lvl="2" algn="ctr"/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</a:t>
            </a:r>
          </a:p>
          <a:p>
            <a:pPr marL="0" lvl="2" algn="ctr"/>
            <a:r>
              <a:rPr lang="en-US" sz="11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BM </a:t>
            </a:r>
            <a:r>
              <a:rPr lang="pt-BR" sz="11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spera</a:t>
            </a:r>
            <a:endParaRPr lang="pt-BR" sz="11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algn="ctr">
              <a:lnSpc>
                <a:spcPct val="100000"/>
              </a:lnSpc>
            </a:pPr>
            <a:r>
              <a:rPr lang="pt-BR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0" lvl="2" algn="ctr"/>
            <a:endParaRPr lang="en-US" sz="1100" dirty="0">
              <a:solidFill>
                <a:schemeClr val="tx1"/>
              </a:solidFill>
            </a:endParaRPr>
          </a:p>
          <a:p>
            <a:pPr marL="0" lvl="2" algn="ctr"/>
            <a:r>
              <a:rPr lang="en-US" sz="900" dirty="0">
                <a:solidFill>
                  <a:schemeClr val="tx1"/>
                </a:solidFill>
              </a:rPr>
              <a:t>11/03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9/04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3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21/05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6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01/07/2025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5/07/2025 (PO)</a:t>
            </a:r>
          </a:p>
          <a:p>
            <a:pPr marL="0" lvl="2" algn="ctr"/>
            <a:r>
              <a:rPr lang="pt-BR" sz="900" dirty="0">
                <a:solidFill>
                  <a:schemeClr val="tx1"/>
                </a:solidFill>
              </a:rPr>
              <a:t>17/07/2025 (SM) 05/08/2025 (PO)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8/08/2025 (SM) </a:t>
            </a:r>
          </a:p>
          <a:p>
            <a:pPr marL="0" lvl="2" algn="ctr"/>
            <a:r>
              <a:rPr lang="pt-BR" sz="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C0C0C0"/>
                </a:highlight>
              </a:rPr>
              <a:t>19/08/2025 (PO)</a:t>
            </a: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  <a:p>
            <a:pPr marL="0" lvl="2" algn="ctr"/>
            <a:endParaRPr lang="pt-BR" sz="9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C0C0C0"/>
              </a:highlight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FC835A-B9DD-CF6E-0A90-FD820F3F4272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Resum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Executivo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</a:t>
            </a:r>
            <a:endParaRPr lang="en-US" sz="3600" i="1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5241DC-037E-7648-6D83-2018495B8A10}"/>
              </a:ext>
            </a:extLst>
          </p:cNvPr>
          <p:cNvGrpSpPr/>
          <p:nvPr/>
        </p:nvGrpSpPr>
        <p:grpSpPr>
          <a:xfrm>
            <a:off x="108713" y="99762"/>
            <a:ext cx="1164886" cy="1186493"/>
            <a:chOff x="9541262" y="5270625"/>
            <a:chExt cx="1164886" cy="11864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030C93B-F93C-3714-4B15-642ACD3F5BF8}"/>
                </a:ext>
              </a:extLst>
            </p:cNvPr>
            <p:cNvSpPr/>
            <p:nvPr/>
          </p:nvSpPr>
          <p:spPr>
            <a:xfrm>
              <a:off x="9541262" y="5270625"/>
              <a:ext cx="1164886" cy="11864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IBM </a:t>
              </a:r>
              <a:r>
                <a:rPr lang="pt-BR" sz="1100" dirty="0" err="1">
                  <a:solidFill>
                    <a:schemeClr val="tx1"/>
                  </a:solidFill>
                </a:rPr>
                <a:t>Asper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 descr="IBM Cloud Pak for Integration | IBM CP4I">
              <a:extLst>
                <a:ext uri="{FF2B5EF4-FFF2-40B4-BE49-F238E27FC236}">
                  <a16:creationId xmlns:a16="http://schemas.microsoft.com/office/drawing/2014/main" id="{AB57837D-C0E9-5907-7792-E10AD47CC2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401" t="75897" r="20339" b="13609"/>
            <a:stretch/>
          </p:blipFill>
          <p:spPr bwMode="auto">
            <a:xfrm>
              <a:off x="9664861" y="5359171"/>
              <a:ext cx="1041287" cy="785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13518FB-58DC-DE04-66A6-815EE6770DC6}"/>
              </a:ext>
            </a:extLst>
          </p:cNvPr>
          <p:cNvGrpSpPr/>
          <p:nvPr/>
        </p:nvGrpSpPr>
        <p:grpSpPr>
          <a:xfrm>
            <a:off x="1469985" y="988857"/>
            <a:ext cx="10602410" cy="3845277"/>
            <a:chOff x="2274945" y="988857"/>
            <a:chExt cx="9372160" cy="38452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3FA4D2D-9E84-4ABE-45D7-35AC482D3E5C}"/>
                </a:ext>
              </a:extLst>
            </p:cNvPr>
            <p:cNvSpPr/>
            <p:nvPr/>
          </p:nvSpPr>
          <p:spPr>
            <a:xfrm>
              <a:off x="2421253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82969C3-0ADF-C9AE-2A0C-FC822F8FC961}"/>
                </a:ext>
              </a:extLst>
            </p:cNvPr>
            <p:cNvSpPr/>
            <p:nvPr/>
          </p:nvSpPr>
          <p:spPr>
            <a:xfrm>
              <a:off x="5435408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FA3FB15-28B4-8910-020E-0A98BEE75CA0}"/>
                </a:ext>
              </a:extLst>
            </p:cNvPr>
            <p:cNvSpPr/>
            <p:nvPr/>
          </p:nvSpPr>
          <p:spPr>
            <a:xfrm>
              <a:off x="8455586" y="988857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4F0C2D4-2554-5F23-AE07-3D808FA29F8E}"/>
                </a:ext>
              </a:extLst>
            </p:cNvPr>
            <p:cNvSpPr/>
            <p:nvPr/>
          </p:nvSpPr>
          <p:spPr>
            <a:xfrm>
              <a:off x="2422793" y="1443952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highlight>
                    <a:srgbClr val="C0C0C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cluídos</a:t>
              </a:r>
            </a:p>
            <a:p>
              <a:pPr marL="115888" lvl="2" indent="-115888" algn="just">
                <a:buFont typeface="Arial" panose="020B0604020202020204" pitchFamily="34" charset="0"/>
                <a:buChar char="•"/>
              </a:pP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R3: Workshop </a:t>
              </a:r>
              <a:r>
                <a:rPr lang="pt-BR" sz="1000" strike="sngStrike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ebMethods</a:t>
              </a:r>
              <a:r>
                <a:rPr lang="pt-BR" sz="1000" strike="sngStrik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  23/07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364E25F-2261-38F0-5F3F-DDEA618DE78B}"/>
                </a:ext>
              </a:extLst>
            </p:cNvPr>
            <p:cNvSpPr/>
            <p:nvPr/>
          </p:nvSpPr>
          <p:spPr>
            <a:xfrm>
              <a:off x="5430061" y="1443952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7E2AD1E-3EA2-2C4D-0F2E-ED1DA84A26F0}"/>
                </a:ext>
              </a:extLst>
            </p:cNvPr>
            <p:cNvSpPr/>
            <p:nvPr/>
          </p:nvSpPr>
          <p:spPr>
            <a:xfrm>
              <a:off x="8456257" y="1443952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445259A-B4CE-3FA3-FD4B-7B8E9FA82198}"/>
                </a:ext>
              </a:extLst>
            </p:cNvPr>
            <p:cNvGrpSpPr/>
            <p:nvPr/>
          </p:nvGrpSpPr>
          <p:grpSpPr>
            <a:xfrm>
              <a:off x="2274945" y="1068958"/>
              <a:ext cx="9372160" cy="317869"/>
              <a:chOff x="2274945" y="1270335"/>
              <a:chExt cx="9372160" cy="317869"/>
            </a:xfrm>
          </p:grpSpPr>
          <p:cxnSp>
            <p:nvCxnSpPr>
              <p:cNvPr id="40" name="Straight Arrow Connector 4">
                <a:extLst>
                  <a:ext uri="{FF2B5EF4-FFF2-40B4-BE49-F238E27FC236}">
                    <a16:creationId xmlns:a16="http://schemas.microsoft.com/office/drawing/2014/main" id="{22C72E55-8D56-E0F0-C5B7-B59C5642E4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6">
                <a:extLst>
                  <a:ext uri="{FF2B5EF4-FFF2-40B4-BE49-F238E27FC236}">
                    <a16:creationId xmlns:a16="http://schemas.microsoft.com/office/drawing/2014/main" id="{CEAA1A69-3339-1F47-42F6-B27242F3981C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l 6">
                <a:extLst>
                  <a:ext uri="{FF2B5EF4-FFF2-40B4-BE49-F238E27FC236}">
                    <a16:creationId xmlns:a16="http://schemas.microsoft.com/office/drawing/2014/main" id="{6D2BAC99-C559-0CD8-CF2B-B270C443F06B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73C503D-284E-944C-F2D3-201A0D794BAC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356C359-FE76-786F-E418-5C91A778E82C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Jul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A3A3EA5-F77F-CA5C-E298-EC20B68131DF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Ago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9B50C010-86AA-7C92-ACC7-38B6E2413A53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Set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44" name="Oval 6">
                <a:extLst>
                  <a:ext uri="{FF2B5EF4-FFF2-40B4-BE49-F238E27FC236}">
                    <a16:creationId xmlns:a16="http://schemas.microsoft.com/office/drawing/2014/main" id="{14EA6804-B707-67E0-0FAA-5ADDCB2ABDA2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52D7AD2-1DF1-B4CC-E25C-CD81DB680F3F}"/>
                </a:ext>
              </a:extLst>
            </p:cNvPr>
            <p:cNvSpPr/>
            <p:nvPr/>
          </p:nvSpPr>
          <p:spPr>
            <a:xfrm>
              <a:off x="2421253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B1C74A2-CABE-F1FF-E5EB-AC9E67423B52}"/>
                </a:ext>
              </a:extLst>
            </p:cNvPr>
            <p:cNvSpPr/>
            <p:nvPr/>
          </p:nvSpPr>
          <p:spPr>
            <a:xfrm>
              <a:off x="5435408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FC13B34-D493-FEDE-1CBC-51A1F1080B2A}"/>
                </a:ext>
              </a:extLst>
            </p:cNvPr>
            <p:cNvSpPr/>
            <p:nvPr/>
          </p:nvSpPr>
          <p:spPr>
            <a:xfrm>
              <a:off x="8455586" y="2913593"/>
              <a:ext cx="3014159" cy="4550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2" algn="just">
                <a:lnSpc>
                  <a:spcPct val="100000"/>
                </a:lnSpc>
              </a:pP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036A5E8-1BB6-C8D7-023D-DFA8E3BE8E37}"/>
                </a:ext>
              </a:extLst>
            </p:cNvPr>
            <p:cNvSpPr/>
            <p:nvPr/>
          </p:nvSpPr>
          <p:spPr>
            <a:xfrm>
              <a:off x="2422793" y="3368907"/>
              <a:ext cx="3006596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2231027-C0FB-2EFA-A5D3-FB56D3B35CAE}"/>
                </a:ext>
              </a:extLst>
            </p:cNvPr>
            <p:cNvSpPr/>
            <p:nvPr/>
          </p:nvSpPr>
          <p:spPr>
            <a:xfrm>
              <a:off x="5430061" y="3368907"/>
              <a:ext cx="3025525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D54345F-6C7E-DBFB-5D97-FBDEF2AC48B2}"/>
                </a:ext>
              </a:extLst>
            </p:cNvPr>
            <p:cNvSpPr/>
            <p:nvPr/>
          </p:nvSpPr>
          <p:spPr>
            <a:xfrm>
              <a:off x="8456257" y="3368907"/>
              <a:ext cx="3013483" cy="14652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t"/>
            <a:lstStyle/>
            <a:p>
              <a:pPr marL="0" lvl="2" algn="just"/>
              <a:r>
                <a:rPr lang="pt-BR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---</a:t>
              </a:r>
              <a:endPara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6A9E79E-0772-FF63-F060-3BFEF8984E40}"/>
                </a:ext>
              </a:extLst>
            </p:cNvPr>
            <p:cNvGrpSpPr/>
            <p:nvPr/>
          </p:nvGrpSpPr>
          <p:grpSpPr>
            <a:xfrm>
              <a:off x="2274945" y="2993694"/>
              <a:ext cx="9372160" cy="317869"/>
              <a:chOff x="2274945" y="1270335"/>
              <a:chExt cx="9372160" cy="317869"/>
            </a:xfrm>
          </p:grpSpPr>
          <p:cxnSp>
            <p:nvCxnSpPr>
              <p:cNvPr id="32" name="Straight Arrow Connector 4">
                <a:extLst>
                  <a:ext uri="{FF2B5EF4-FFF2-40B4-BE49-F238E27FC236}">
                    <a16:creationId xmlns:a16="http://schemas.microsoft.com/office/drawing/2014/main" id="{675DDA85-540C-4B2B-43AB-9A35F992B3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1253" y="1431797"/>
                <a:ext cx="9225852" cy="0"/>
              </a:xfrm>
              <a:prstGeom prst="straightConnector1">
                <a:avLst/>
              </a:prstGeom>
              <a:ln w="1016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Oval 6">
                <a:extLst>
                  <a:ext uri="{FF2B5EF4-FFF2-40B4-BE49-F238E27FC236}">
                    <a16:creationId xmlns:a16="http://schemas.microsoft.com/office/drawing/2014/main" id="{3445D43A-FFA9-CD2A-A03E-3A555C2F9969}"/>
                  </a:ext>
                </a:extLst>
              </p:cNvPr>
              <p:cNvSpPr/>
              <p:nvPr/>
            </p:nvSpPr>
            <p:spPr>
              <a:xfrm>
                <a:off x="2274945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Oval 6">
                <a:extLst>
                  <a:ext uri="{FF2B5EF4-FFF2-40B4-BE49-F238E27FC236}">
                    <a16:creationId xmlns:a16="http://schemas.microsoft.com/office/drawing/2014/main" id="{AE80ACB1-2151-A07C-669D-8A5D07768CCC}"/>
                  </a:ext>
                </a:extLst>
              </p:cNvPr>
              <p:cNvSpPr/>
              <p:nvPr/>
            </p:nvSpPr>
            <p:spPr>
              <a:xfrm>
                <a:off x="5319660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77203F1-7F79-63B2-8B3E-E51AD11C3A7F}"/>
                  </a:ext>
                </a:extLst>
              </p:cNvPr>
              <p:cNvGrpSpPr/>
              <p:nvPr/>
            </p:nvGrpSpPr>
            <p:grpSpPr>
              <a:xfrm>
                <a:off x="2630341" y="1270335"/>
                <a:ext cx="7158755" cy="317869"/>
                <a:chOff x="364804" y="3907694"/>
                <a:chExt cx="3789495" cy="317869"/>
              </a:xfrm>
              <a:noFill/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D1C3C31-530D-3651-D21C-BE0C85F32E53}"/>
                    </a:ext>
                  </a:extLst>
                </p:cNvPr>
                <p:cNvSpPr/>
                <p:nvPr/>
              </p:nvSpPr>
              <p:spPr>
                <a:xfrm>
                  <a:off x="36480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b="1" dirty="0">
                      <a:solidFill>
                        <a:srgbClr val="1D3649"/>
                      </a:solidFill>
                    </a:rPr>
                    <a:t>Out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60DCC049-7794-2B45-14D6-908AC74C3C90}"/>
                    </a:ext>
                  </a:extLst>
                </p:cNvPr>
                <p:cNvSpPr/>
                <p:nvPr/>
              </p:nvSpPr>
              <p:spPr>
                <a:xfrm>
                  <a:off x="2000834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 err="1">
                      <a:solidFill>
                        <a:srgbClr val="1D3649"/>
                      </a:solidFill>
                    </a:rPr>
                    <a:t>Nov</a:t>
                  </a:r>
                  <a:r>
                    <a:rPr lang="pt-BR" sz="1800" b="1" dirty="0">
                      <a:solidFill>
                        <a:srgbClr val="1D3649"/>
                      </a:solidFill>
                    </a:rPr>
                    <a:t>/25</a:t>
                  </a:r>
                  <a:endParaRPr lang="en-US" dirty="0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2EF4B4D7-ED66-FD46-C9AE-5E0FC5299966}"/>
                    </a:ext>
                  </a:extLst>
                </p:cNvPr>
                <p:cNvSpPr/>
                <p:nvPr/>
              </p:nvSpPr>
              <p:spPr>
                <a:xfrm>
                  <a:off x="3639245" y="3907694"/>
                  <a:ext cx="515054" cy="31786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sz="1800" b="1" dirty="0">
                      <a:solidFill>
                        <a:srgbClr val="1D3649"/>
                      </a:solidFill>
                    </a:rPr>
                    <a:t>Dez/25</a:t>
                  </a:r>
                  <a:endParaRPr lang="en-US" sz="1800" b="1" dirty="0">
                    <a:solidFill>
                      <a:srgbClr val="1D3649"/>
                    </a:solidFill>
                  </a:endParaRPr>
                </a:p>
              </p:txBody>
            </p:sp>
          </p:grpSp>
          <p:sp>
            <p:nvSpPr>
              <p:cNvPr id="36" name="Oval 6">
                <a:extLst>
                  <a:ext uri="{FF2B5EF4-FFF2-40B4-BE49-F238E27FC236}">
                    <a16:creationId xmlns:a16="http://schemas.microsoft.com/office/drawing/2014/main" id="{F6BC1235-09DD-44D8-CDA3-632F15F1C473}"/>
                  </a:ext>
                </a:extLst>
              </p:cNvPr>
              <p:cNvSpPr/>
              <p:nvPr/>
            </p:nvSpPr>
            <p:spPr>
              <a:xfrm>
                <a:off x="8403386" y="1271241"/>
                <a:ext cx="301672" cy="301886"/>
              </a:xfrm>
              <a:prstGeom prst="ellipse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47699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220702A-A69F-19CD-3630-64E3EE14E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841BEB4-8F80-F873-E061-BFB1F3910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52D1FF-9393-5814-C95F-20ABBA533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FC38-F9E0-E9D2-549A-3DDA216C7E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D47B31-F953-69A1-973D-AD893710D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5520F8-0ADD-792E-3266-66F4614E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43FC53-028C-0440-C2F4-3DF988BCBA94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8483D9F-5DE7-9AA5-16E0-98BFF60B7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92286"/>
              </p:ext>
            </p:extLst>
          </p:nvPr>
        </p:nvGraphicFramePr>
        <p:xfrm>
          <a:off x="274150" y="1171322"/>
          <a:ext cx="11578320" cy="857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I Connec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71223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93B496F-4CE3-AA8F-3D28-8EF657B4B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748022"/>
              </p:ext>
            </p:extLst>
          </p:nvPr>
        </p:nvGraphicFramePr>
        <p:xfrm>
          <a:off x="274150" y="2317566"/>
          <a:ext cx="11578320" cy="29832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28296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6265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34705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90078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299872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67600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53393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58794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466768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9343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792242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8516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pp Connect Enterpri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90905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olution Provid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F4C9011-82F8-1E0E-7A1A-7A7A4B973C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480426"/>
              </p:ext>
            </p:extLst>
          </p:nvPr>
        </p:nvGraphicFramePr>
        <p:xfrm>
          <a:off x="274150" y="5534196"/>
          <a:ext cx="11578320" cy="10344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693299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p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708142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289392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8692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9EC829-9CCB-C741-9A19-602A59BC0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2C0FC15-3283-AADC-9C6C-D31CC10ED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75FDEF-7F07-A6CE-3999-EB04396C67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7CFF0A-3660-F675-53DA-C4E39FFC2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FCCC6C-1778-14D9-6F66-06BB0A684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BBCAF-4EBA-E452-E3CE-2692B4538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C1429E-F674-4238-6F2C-FE4928F139DB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33330C1-C2B4-1A6E-0083-47EDE508C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479411"/>
              </p:ext>
            </p:extLst>
          </p:nvPr>
        </p:nvGraphicFramePr>
        <p:xfrm>
          <a:off x="274150" y="3046988"/>
          <a:ext cx="11578320" cy="28060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51611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3801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22676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366092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819574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1620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9547857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51160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6514240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1153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90621915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6023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28953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69840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741723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755532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777612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Q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969738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pen</a:t>
                      </a: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waiting your feedback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6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7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184429A-69CE-ECB0-7867-7710A7A39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480362"/>
              </p:ext>
            </p:extLst>
          </p:nvPr>
        </p:nvGraphicFramePr>
        <p:xfrm>
          <a:off x="274150" y="1182112"/>
          <a:ext cx="11578320" cy="1743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31060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312935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5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7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6-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066153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0664008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8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1-09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04377613</a:t>
                      </a:r>
                      <a:endParaRPr lang="en-US" sz="1100" b="0" i="0" u="sng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0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11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vent Strea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038828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6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0-07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9505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587CC1-91AF-DBC7-9CFB-679B3B59E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9D05238F-E87D-CBD9-EFA6-D65323035B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6790985-1438-E95A-708F-B5032F08C3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D39883-94D3-02F6-D3EC-3AC471245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7DFDA0-F95B-EA3F-9BC2-F771745D1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E7F694-8034-F44F-0D85-56E29E493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2DDE1-C520-5181-2937-74D5FEB57470}"/>
              </a:ext>
            </a:extLst>
          </p:cNvPr>
          <p:cNvSpPr txBox="1">
            <a:spLocks/>
          </p:cNvSpPr>
          <p:nvPr/>
        </p:nvSpPr>
        <p:spPr>
          <a:xfrm>
            <a:off x="2143393" y="294538"/>
            <a:ext cx="9482276" cy="5877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ses</a:t>
            </a:r>
            <a:r>
              <a:rPr lang="en-US" sz="3600" kern="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desco</a:t>
            </a:r>
            <a:r>
              <a:rPr lang="en-US" sz="360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(0050200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41A2B47-B64D-E874-D712-340B60C70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735541"/>
              </p:ext>
            </p:extLst>
          </p:nvPr>
        </p:nvGraphicFramePr>
        <p:xfrm>
          <a:off x="274150" y="1183258"/>
          <a:ext cx="11578320" cy="9006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7809">
                  <a:extLst>
                    <a:ext uri="{9D8B030D-6E8A-4147-A177-3AD203B41FA5}">
                      <a16:colId xmlns:a16="http://schemas.microsoft.com/office/drawing/2014/main" val="3920645347"/>
                    </a:ext>
                  </a:extLst>
                </a:gridCol>
                <a:gridCol w="2097483">
                  <a:extLst>
                    <a:ext uri="{9D8B030D-6E8A-4147-A177-3AD203B41FA5}">
                      <a16:colId xmlns:a16="http://schemas.microsoft.com/office/drawing/2014/main" val="2995916683"/>
                    </a:ext>
                  </a:extLst>
                </a:gridCol>
                <a:gridCol w="1034295">
                  <a:extLst>
                    <a:ext uri="{9D8B030D-6E8A-4147-A177-3AD203B41FA5}">
                      <a16:colId xmlns:a16="http://schemas.microsoft.com/office/drawing/2014/main" val="4236903039"/>
                    </a:ext>
                  </a:extLst>
                </a:gridCol>
                <a:gridCol w="578734">
                  <a:extLst>
                    <a:ext uri="{9D8B030D-6E8A-4147-A177-3AD203B41FA5}">
                      <a16:colId xmlns:a16="http://schemas.microsoft.com/office/drawing/2014/main" val="2842312422"/>
                    </a:ext>
                  </a:extLst>
                </a:gridCol>
                <a:gridCol w="601883">
                  <a:extLst>
                    <a:ext uri="{9D8B030D-6E8A-4147-A177-3AD203B41FA5}">
                      <a16:colId xmlns:a16="http://schemas.microsoft.com/office/drawing/2014/main" val="1567010811"/>
                    </a:ext>
                  </a:extLst>
                </a:gridCol>
                <a:gridCol w="1608881">
                  <a:extLst>
                    <a:ext uri="{9D8B030D-6E8A-4147-A177-3AD203B41FA5}">
                      <a16:colId xmlns:a16="http://schemas.microsoft.com/office/drawing/2014/main" val="2390675284"/>
                    </a:ext>
                  </a:extLst>
                </a:gridCol>
                <a:gridCol w="462988">
                  <a:extLst>
                    <a:ext uri="{9D8B030D-6E8A-4147-A177-3AD203B41FA5}">
                      <a16:colId xmlns:a16="http://schemas.microsoft.com/office/drawing/2014/main" val="4290845335"/>
                    </a:ext>
                  </a:extLst>
                </a:gridCol>
                <a:gridCol w="347240">
                  <a:extLst>
                    <a:ext uri="{9D8B030D-6E8A-4147-A177-3AD203B41FA5}">
                      <a16:colId xmlns:a16="http://schemas.microsoft.com/office/drawing/2014/main" val="109718000"/>
                    </a:ext>
                  </a:extLst>
                </a:gridCol>
                <a:gridCol w="370390">
                  <a:extLst>
                    <a:ext uri="{9D8B030D-6E8A-4147-A177-3AD203B41FA5}">
                      <a16:colId xmlns:a16="http://schemas.microsoft.com/office/drawing/2014/main" val="3258753248"/>
                    </a:ext>
                  </a:extLst>
                </a:gridCol>
                <a:gridCol w="532436">
                  <a:extLst>
                    <a:ext uri="{9D8B030D-6E8A-4147-A177-3AD203B41FA5}">
                      <a16:colId xmlns:a16="http://schemas.microsoft.com/office/drawing/2014/main" val="1610370226"/>
                    </a:ext>
                  </a:extLst>
                </a:gridCol>
                <a:gridCol w="787078">
                  <a:extLst>
                    <a:ext uri="{9D8B030D-6E8A-4147-A177-3AD203B41FA5}">
                      <a16:colId xmlns:a16="http://schemas.microsoft.com/office/drawing/2014/main" val="1369705879"/>
                    </a:ext>
                  </a:extLst>
                </a:gridCol>
                <a:gridCol w="810228">
                  <a:extLst>
                    <a:ext uri="{9D8B030D-6E8A-4147-A177-3AD203B41FA5}">
                      <a16:colId xmlns:a16="http://schemas.microsoft.com/office/drawing/2014/main" val="32160796"/>
                    </a:ext>
                  </a:extLst>
                </a:gridCol>
                <a:gridCol w="984373">
                  <a:extLst>
                    <a:ext uri="{9D8B030D-6E8A-4147-A177-3AD203B41FA5}">
                      <a16:colId xmlns:a16="http://schemas.microsoft.com/office/drawing/2014/main" val="1478788924"/>
                    </a:ext>
                  </a:extLst>
                </a:gridCol>
                <a:gridCol w="624502">
                  <a:extLst>
                    <a:ext uri="{9D8B030D-6E8A-4147-A177-3AD203B41FA5}">
                      <a16:colId xmlns:a16="http://schemas.microsoft.com/office/drawing/2014/main" val="605057119"/>
                    </a:ext>
                  </a:extLst>
                </a:gridCol>
              </a:tblGrid>
              <a:tr h="3175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number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escripti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est Seve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st alter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closed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98378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S0146560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2024-09-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1866331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TS01562129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2193078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TS015495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904585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TS0159848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1166636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TS016204435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16944399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TS01547972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2288183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TS01598465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95486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S01499858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2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776768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S01420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7286494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TS0138244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8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1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9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556770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TS01614927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3700161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TS0161719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40702417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TS0159848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39448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TS01598466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750552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TS01598477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249858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TS01598467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089914828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TS0159846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883752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TS01598480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4015471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2"/>
                        </a:rPr>
                        <a:t>TS01598476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8770740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3"/>
                        </a:rPr>
                        <a:t>TS01598469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528328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4"/>
                        </a:rPr>
                        <a:t>TS01598471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39071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5"/>
                        </a:rPr>
                        <a:t>TS01600589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6433846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6"/>
                        </a:rPr>
                        <a:t>TS01271207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04-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466405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TS0159261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342444580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8"/>
                        </a:rPr>
                        <a:t>TS014497347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09937563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29"/>
                        </a:rPr>
                        <a:t>TS01598464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7892952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0"/>
                        </a:rPr>
                        <a:t>TS01553590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98279399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1"/>
                        </a:rPr>
                        <a:t>TS01553604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2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4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3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81274697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2"/>
                        </a:rPr>
                        <a:t>TS014516713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1-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3-10-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5492573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3"/>
                        </a:rPr>
                        <a:t>TS016204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9775517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4"/>
                        </a:rPr>
                        <a:t>TS01618018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5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7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6-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6195627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5"/>
                        </a:rPr>
                        <a:t>TS01693954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8476142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6"/>
                        </a:rPr>
                        <a:t>TS01703883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8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50909444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7"/>
                        </a:rPr>
                        <a:t>TS01741959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09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0-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5902563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8"/>
                        </a:rPr>
                        <a:t>TS017889111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4-11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577656131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39"/>
                        </a:rPr>
                        <a:t>TS01838759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050689776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0"/>
                        </a:rPr>
                        <a:t>TS018400294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16965055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1"/>
                        </a:rPr>
                        <a:t>TS01840103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1-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36291060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2"/>
                        </a:rPr>
                        <a:t>TS01847431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60168202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3"/>
                        </a:rPr>
                        <a:t>TS01846180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178525003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4"/>
                        </a:rPr>
                        <a:t>TS01860011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909416537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5"/>
                        </a:rPr>
                        <a:t>TS018606318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768279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6"/>
                        </a:rPr>
                        <a:t>TS018601409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271035124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7"/>
                        </a:rPr>
                        <a:t>TS018613872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3-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2-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519905149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8"/>
                        </a:rPr>
                        <a:t>TS01897274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801126263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49"/>
                        </a:rPr>
                        <a:t>TS019027860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 - Archiv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4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3153160555"/>
                  </a:ext>
                </a:extLst>
              </a:tr>
              <a:tr h="175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0502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aPow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hlinkClick r:id="rId50"/>
                        </a:rPr>
                        <a:t>TS019243496</a:t>
                      </a:r>
                      <a:endParaRPr lang="en-US" sz="1100" b="0" i="0" u="sng" strike="noStrike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25-05-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773" marR="8773" marT="8773" marB="0" anchor="b"/>
                </a:tc>
                <a:extLst>
                  <a:ext uri="{0D108BD9-81ED-4DB2-BD59-A6C34878D82A}">
                    <a16:rowId xmlns:a16="http://schemas.microsoft.com/office/drawing/2014/main" val="41931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7264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" name="Rectangle 3">
            <a:extLst>
              <a:ext uri="{FF2B5EF4-FFF2-40B4-BE49-F238E27FC236}">
                <a16:creationId xmlns:a16="http://schemas.microsoft.com/office/drawing/2014/main" id="{58F9A95D-3CB8-5794-DD3C-846A25475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4D1711-EF6C-1473-EA7D-FA7C74D501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7DADFF-2A08-7125-5BA0-67277451B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D3929D-FA18-86FA-8BDE-3BE6ECF47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683391-0009-2353-775A-EED32DFBB3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FE60577F-A183-C54B-51CC-7E25CFD538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2116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5BAE6D-667D-CAEA-0853-1CA05D5766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2" y="21160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6613C4-6B4C-CCBC-FD65-223DE68228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" y="21161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20769-8304-FD65-F71C-247AB873F2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8" y="21160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2529CA-27D8-A01E-474C-4C665666F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49" y="21160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67B528C-5393-EF87-59CC-CD4DE6878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8" y="315699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pt-BR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valiação do CSM &amp; Grupos de discussõe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valuation &amp; Group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2F6729D-DE7E-B6B6-188E-6ADD9493DDA9}"/>
              </a:ext>
            </a:extLst>
          </p:cNvPr>
          <p:cNvGrpSpPr/>
          <p:nvPr/>
        </p:nvGrpSpPr>
        <p:grpSpPr>
          <a:xfrm>
            <a:off x="1132339" y="2736610"/>
            <a:ext cx="3564355" cy="3774741"/>
            <a:chOff x="654361" y="2392188"/>
            <a:chExt cx="3564355" cy="377474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EC3DF01-23F5-C342-5B9E-7B46743CCC61}"/>
                </a:ext>
              </a:extLst>
            </p:cNvPr>
            <p:cNvSpPr>
              <a:spLocks/>
            </p:cNvSpPr>
            <p:nvPr/>
          </p:nvSpPr>
          <p:spPr>
            <a:xfrm>
              <a:off x="654361" y="2392188"/>
              <a:ext cx="3564355" cy="37747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endParaRPr lang="pt-BR" dirty="0">
                <a:solidFill>
                  <a:schemeClr val="tx1"/>
                </a:solidFill>
                <a:hlinkClick r:id="rId2"/>
              </a:endParaRPr>
            </a:p>
            <a:p>
              <a:pPr algn="ctr"/>
              <a:r>
                <a:rPr lang="pt-BR" dirty="0">
                  <a:solidFill>
                    <a:schemeClr val="tx1"/>
                  </a:solidFill>
                  <a:hlinkClick r:id="rId2"/>
                </a:rPr>
                <a:t>https://ibm.biz/avaliacao-csm</a:t>
              </a:r>
              <a:r>
                <a:rPr lang="pt-BR" dirty="0">
                  <a:solidFill>
                    <a:schemeClr val="tx1"/>
                  </a:solidFill>
                </a:rPr>
                <a:t>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00B1B7C-5B4B-16A2-0631-6DDAF48287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86544" y="3142467"/>
              <a:ext cx="2470910" cy="2481653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7C781B2-0B2C-A226-F7B6-691A5B54AE7D}"/>
              </a:ext>
            </a:extLst>
          </p:cNvPr>
          <p:cNvGrpSpPr/>
          <p:nvPr/>
        </p:nvGrpSpPr>
        <p:grpSpPr>
          <a:xfrm>
            <a:off x="5485136" y="2049687"/>
            <a:ext cx="5781821" cy="3220279"/>
            <a:chOff x="4210106" y="2196804"/>
            <a:chExt cx="7521102" cy="409076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D31BAEF-FDC0-481D-818F-0A28020065E0}"/>
                </a:ext>
              </a:extLst>
            </p:cNvPr>
            <p:cNvSpPr>
              <a:spLocks/>
            </p:cNvSpPr>
            <p:nvPr/>
          </p:nvSpPr>
          <p:spPr>
            <a:xfrm>
              <a:off x="4210106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IBM </a:t>
              </a:r>
              <a:r>
                <a:rPr lang="pt-BR" sz="1600" dirty="0" err="1">
                  <a:solidFill>
                    <a:schemeClr val="tx1"/>
                  </a:solidFill>
                </a:rPr>
                <a:t>User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r>
                <a:rPr lang="pt-BR" sz="1600" dirty="0" err="1">
                  <a:solidFill>
                    <a:schemeClr val="tx1"/>
                  </a:solidFill>
                </a:rPr>
                <a:t>Group</a:t>
              </a:r>
              <a:r>
                <a:rPr lang="pt-BR" sz="1600" dirty="0">
                  <a:solidFill>
                    <a:schemeClr val="tx1"/>
                  </a:solidFill>
                </a:rPr>
                <a:t> Community</a:t>
              </a:r>
            </a:p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4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4"/>
                </a:rPr>
                <a:t>https://ibm.biz/ibm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EC941BE-4A5E-B76B-D0B0-7E9FCD5B7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65143" y="2919641"/>
              <a:ext cx="2648151" cy="2693611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7FB0466-3445-669D-23B6-C93E70010F3F}"/>
                </a:ext>
              </a:extLst>
            </p:cNvPr>
            <p:cNvSpPr>
              <a:spLocks/>
            </p:cNvSpPr>
            <p:nvPr/>
          </p:nvSpPr>
          <p:spPr>
            <a:xfrm>
              <a:off x="7970657" y="2196804"/>
              <a:ext cx="3760551" cy="409076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pt-BR" sz="16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</a:rPr>
                <a:t>LinkedIn</a:t>
              </a: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endParaRPr lang="pt-BR" sz="1600" dirty="0">
                <a:solidFill>
                  <a:schemeClr val="tx1"/>
                </a:solidFill>
                <a:hlinkClick r:id="rId6"/>
              </a:endParaRPr>
            </a:p>
            <a:p>
              <a:pPr algn="ctr"/>
              <a:r>
                <a:rPr lang="pt-BR" sz="1600" dirty="0">
                  <a:solidFill>
                    <a:schemeClr val="tx1"/>
                  </a:solidFill>
                  <a:hlinkClick r:id="rId6"/>
                </a:rPr>
                <a:t>https://ibm.biz/linkedin-integra-x</a:t>
              </a:r>
              <a:r>
                <a:rPr lang="pt-BR" sz="1600" dirty="0">
                  <a:solidFill>
                    <a:schemeClr val="tx1"/>
                  </a:solidFill>
                </a:rPr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467B8E5-3734-3D5D-A9E4-DBB185630A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01648" y="2934689"/>
              <a:ext cx="2716344" cy="2670881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D080F8CD-30B7-2FDD-A0F4-0CA8F3E1E7B5}"/>
              </a:ext>
            </a:extLst>
          </p:cNvPr>
          <p:cNvSpPr/>
          <p:nvPr/>
        </p:nvSpPr>
        <p:spPr>
          <a:xfrm>
            <a:off x="5484545" y="5269966"/>
            <a:ext cx="5783004" cy="1241385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ticipe da nossa comunidade                                       a</a:t>
            </a:r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D9FEB55-33A2-EA32-796A-543479A892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t="27196" r="25457" b="25384"/>
          <a:stretch>
            <a:fillRect/>
          </a:stretch>
        </p:blipFill>
        <p:spPr>
          <a:xfrm>
            <a:off x="8800633" y="5443174"/>
            <a:ext cx="2128898" cy="78169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190D860-D7C6-0049-D28B-BFF2D34DF22C}"/>
              </a:ext>
            </a:extLst>
          </p:cNvPr>
          <p:cNvSpPr/>
          <p:nvPr/>
        </p:nvSpPr>
        <p:spPr>
          <a:xfrm>
            <a:off x="1132339" y="2049687"/>
            <a:ext cx="3564355" cy="686923"/>
          </a:xfrm>
          <a:prstGeom prst="rect">
            <a:avLst/>
          </a:prstGeom>
          <a:solidFill>
            <a:srgbClr val="15608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ode me avaliar?</a:t>
            </a:r>
            <a:endParaRPr lang="en-US" dirty="0"/>
          </a:p>
        </p:txBody>
      </p:sp>
      <p:pic>
        <p:nvPicPr>
          <p:cNvPr id="26" name="logo2-04.png" descr="logo2-04.png">
            <a:extLst>
              <a:ext uri="{FF2B5EF4-FFF2-40B4-BE49-F238E27FC236}">
                <a16:creationId xmlns:a16="http://schemas.microsoft.com/office/drawing/2014/main" id="{DEB8414E-656E-E224-D789-F3AD23B96B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7990" y="2898162"/>
            <a:ext cx="2404477" cy="711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026789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4A2155-4275-C69B-A816-F57B07944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858F569B-4ACB-CDF5-4C32-374EFAF80B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81AF4B-938D-5DB0-75B4-6BC3813FF5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A3C8CF-CBEA-32ED-76FE-540D165AB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0D2380-C0D4-BE3C-D341-D57B3A690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25BE64-9B8D-BBA8-A8C7-8382E8046D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0AD1B9E-F0AD-B9DF-E87D-B972B032D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Referências Externas (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</a:t>
            </a: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: Gartner)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ternal references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31456E-669F-3A8A-56C0-F421F2FC4A15}"/>
              </a:ext>
            </a:extLst>
          </p:cNvPr>
          <p:cNvSpPr>
            <a:spLocks/>
          </p:cNvSpPr>
          <p:nvPr/>
        </p:nvSpPr>
        <p:spPr>
          <a:xfrm>
            <a:off x="104820" y="1688044"/>
            <a:ext cx="7330361" cy="324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dirty="0">
                <a:solidFill>
                  <a:schemeClr val="tx1"/>
                </a:solidFill>
              </a:rPr>
              <a:t>Passo 1 – Escolher o produto para avaliar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999366-2C6D-1B02-5C4D-8451D7F040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0" t="5982" r="4354"/>
          <a:stretch/>
        </p:blipFill>
        <p:spPr>
          <a:xfrm>
            <a:off x="256150" y="2227949"/>
            <a:ext cx="980336" cy="99249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243CB66-0A13-8C4D-2C1C-5B7F670EC755}"/>
              </a:ext>
            </a:extLst>
          </p:cNvPr>
          <p:cNvSpPr/>
          <p:nvPr/>
        </p:nvSpPr>
        <p:spPr>
          <a:xfrm>
            <a:off x="889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CE/Broker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25A94C-D863-6480-0388-C0A018A08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368" y="2238337"/>
            <a:ext cx="978873" cy="9724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FAFCE3-B1B6-B5CC-F244-CD4C9E902BBD}"/>
              </a:ext>
            </a:extLst>
          </p:cNvPr>
          <p:cNvSpPr/>
          <p:nvPr/>
        </p:nvSpPr>
        <p:spPr>
          <a:xfrm>
            <a:off x="1279694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Event </a:t>
            </a:r>
            <a:r>
              <a:rPr lang="pt-BR" sz="1400" b="1" dirty="0" err="1">
                <a:solidFill>
                  <a:schemeClr val="tx1"/>
                </a:solidFill>
              </a:rPr>
              <a:t>Stream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E9BEAC-789E-42E3-67E1-A11EE026473C}"/>
              </a:ext>
            </a:extLst>
          </p:cNvPr>
          <p:cNvSpPr/>
          <p:nvPr/>
        </p:nvSpPr>
        <p:spPr>
          <a:xfrm>
            <a:off x="2427598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MQ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2882499-E66E-6832-6937-D83FE5D66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0977" y="2212204"/>
            <a:ext cx="1061332" cy="1035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0A6066D-57F5-DE49-5C5B-B98C776539BD}"/>
              </a:ext>
            </a:extLst>
          </p:cNvPr>
          <p:cNvSpPr txBox="1"/>
          <p:nvPr/>
        </p:nvSpPr>
        <p:spPr>
          <a:xfrm>
            <a:off x="5856336" y="2192279"/>
            <a:ext cx="1586137" cy="255454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5"/>
              </a:rPr>
              <a:t>IBM-CP4I-ACE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6"/>
              </a:rPr>
              <a:t>IBM-CP4I-Asper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7"/>
              </a:rPr>
              <a:t>IBM-CP4I-EventStream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MQ-U$25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fontAlgn="base"/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8"/>
              </a:rPr>
              <a:t>IBM-CP4I-APIC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9"/>
              </a:rPr>
              <a:t>IBM-CP4A-WAS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0"/>
              </a:rPr>
              <a:t>IBM-CP4A-WebSphereLibertyCore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  <a:t> </a:t>
            </a: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1"/>
              </a:rPr>
              <a:t>IBM-CP4BA-BAW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2"/>
              </a:rPr>
              <a:t>IBM-CP4BA-FilenetContentManager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3"/>
              </a:rPr>
              <a:t>IBM-CP4BA-ODM-U$25</a:t>
            </a:r>
            <a:br>
              <a:rPr lang="en-US" sz="8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</a:rPr>
            </a:b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4"/>
              </a:rPr>
              <a:t>IBM-CP4BA-ProcessMining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5"/>
              </a:rPr>
              <a:t>IBM-CP4BA-RP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  <a:hlinkClick r:id="" action="ppaction://noaction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" action="ppaction://noaction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6"/>
              </a:rPr>
              <a:t>Instana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 u="sng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IBM-</a:t>
            </a:r>
            <a:r>
              <a:rPr lang="en-US" sz="800" b="0" i="0" u="sng" dirty="0" err="1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hlinkClick r:id="rId17"/>
              </a:rPr>
              <a:t>Turbonomic</a:t>
            </a:r>
            <a:endParaRPr lang="en-US" sz="800" b="0" i="0" u="sng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  <a:p>
            <a:pPr marL="0" marR="0" indent="0" algn="l" rtl="0" fontAlgn="base">
              <a:spcBef>
                <a:spcPts val="0"/>
              </a:spcBef>
              <a:spcAft>
                <a:spcPts val="0"/>
              </a:spcAft>
            </a:pPr>
            <a:r>
              <a:rPr lang="en-US" sz="800" u="sng" dirty="0">
                <a:solidFill>
                  <a:srgbClr val="000000"/>
                </a:solidFill>
                <a:highlight>
                  <a:srgbClr val="FFFFFF"/>
                </a:highlight>
                <a:latin typeface="Aptos" panose="020B0004020202020204" pitchFamily="34" charset="0"/>
                <a:hlinkClick r:id="rId18"/>
              </a:rPr>
              <a:t>IBM-Turbonomic-U$25</a:t>
            </a:r>
            <a:endParaRPr lang="en-US" sz="800" b="0" i="0" dirty="0">
              <a:solidFill>
                <a:srgbClr val="000000"/>
              </a:solidFill>
              <a:effectLst/>
              <a:highlight>
                <a:srgbClr val="FFFFFF"/>
              </a:highlight>
              <a:latin typeface="Aptos" panose="020B00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4E43F22-2ECD-D38C-3C84-6A2157939693}"/>
              </a:ext>
            </a:extLst>
          </p:cNvPr>
          <p:cNvGrpSpPr/>
          <p:nvPr/>
        </p:nvGrpSpPr>
        <p:grpSpPr>
          <a:xfrm>
            <a:off x="7442521" y="1688045"/>
            <a:ext cx="4637285" cy="3243782"/>
            <a:chOff x="393230" y="4218935"/>
            <a:chExt cx="4630422" cy="251753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52C727-8F28-011E-AAB7-5C13B5170659}"/>
                </a:ext>
              </a:extLst>
            </p:cNvPr>
            <p:cNvSpPr>
              <a:spLocks/>
            </p:cNvSpPr>
            <p:nvPr/>
          </p:nvSpPr>
          <p:spPr>
            <a:xfrm>
              <a:off x="393230" y="4218935"/>
              <a:ext cx="4630422" cy="251753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2 – Avaliar (tudo é </a:t>
              </a:r>
              <a:r>
                <a:rPr lang="pt-BR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nônimo</a:t>
              </a:r>
              <a:r>
                <a:rPr lang="pt-BR" dirty="0">
                  <a:solidFill>
                    <a:schemeClr val="tx1"/>
                  </a:solidFill>
                </a:rPr>
                <a:t>!)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2601415B-0145-FB3E-B7F3-ADA1C55E4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981" y="4647421"/>
              <a:ext cx="3757508" cy="165388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030E0F-0544-01EE-74E7-2C8C4C42197A}"/>
              </a:ext>
            </a:extLst>
          </p:cNvPr>
          <p:cNvGrpSpPr/>
          <p:nvPr/>
        </p:nvGrpSpPr>
        <p:grpSpPr>
          <a:xfrm>
            <a:off x="104820" y="4920395"/>
            <a:ext cx="7337653" cy="1751870"/>
            <a:chOff x="7135092" y="1975174"/>
            <a:chExt cx="7220159" cy="18364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B20763B-1706-54C2-85ED-225A61166B9E}"/>
                </a:ext>
              </a:extLst>
            </p:cNvPr>
            <p:cNvSpPr>
              <a:spLocks/>
            </p:cNvSpPr>
            <p:nvPr/>
          </p:nvSpPr>
          <p:spPr>
            <a:xfrm>
              <a:off x="7135092" y="1975174"/>
              <a:ext cx="7220159" cy="183648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3 – Mandar </a:t>
              </a:r>
              <a:r>
                <a:rPr lang="pt-BR" dirty="0" err="1">
                  <a:solidFill>
                    <a:schemeClr val="tx1"/>
                  </a:solidFill>
                </a:rPr>
                <a:t>email</a:t>
              </a:r>
              <a:r>
                <a:rPr lang="pt-BR" dirty="0">
                  <a:solidFill>
                    <a:schemeClr val="tx1"/>
                  </a:solidFill>
                </a:rPr>
                <a:t> para alexandre.zanetti@br.ibm.com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048F111-BD3B-A726-0FE3-AA542F986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38466" y="2500813"/>
              <a:ext cx="1188019" cy="1195444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571CB45-C52C-D7E7-4572-DE2B53D2CAD3}"/>
                </a:ext>
              </a:extLst>
            </p:cNvPr>
            <p:cNvGrpSpPr/>
            <p:nvPr/>
          </p:nvGrpSpPr>
          <p:grpSpPr>
            <a:xfrm>
              <a:off x="7963320" y="2572536"/>
              <a:ext cx="1301703" cy="1123722"/>
              <a:chOff x="8586744" y="3002334"/>
              <a:chExt cx="941167" cy="812482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EED098B2-B91E-7DBE-D887-0CD2B378F9DA}"/>
                  </a:ext>
                </a:extLst>
              </p:cNvPr>
              <p:cNvSpPr/>
              <p:nvPr/>
            </p:nvSpPr>
            <p:spPr>
              <a:xfrm>
                <a:off x="8586744" y="3002334"/>
                <a:ext cx="723900" cy="812482"/>
              </a:xfrm>
              <a:custGeom>
                <a:avLst/>
                <a:gdLst>
                  <a:gd name="connsiteX0" fmla="*/ 600075 w 723900"/>
                  <a:gd name="connsiteY0" fmla="*/ 200749 h 812482"/>
                  <a:gd name="connsiteX1" fmla="*/ 600075 w 723900"/>
                  <a:gd name="connsiteY1" fmla="*/ 107633 h 812482"/>
                  <a:gd name="connsiteX2" fmla="*/ 490471 w 723900"/>
                  <a:gd name="connsiteY2" fmla="*/ 107633 h 812482"/>
                  <a:gd name="connsiteX3" fmla="*/ 361950 w 723900"/>
                  <a:gd name="connsiteY3" fmla="*/ 0 h 812482"/>
                  <a:gd name="connsiteX4" fmla="*/ 233429 w 723900"/>
                  <a:gd name="connsiteY4" fmla="*/ 107633 h 812482"/>
                  <a:gd name="connsiteX5" fmla="*/ 123825 w 723900"/>
                  <a:gd name="connsiteY5" fmla="*/ 107633 h 812482"/>
                  <a:gd name="connsiteX6" fmla="*/ 123825 w 723900"/>
                  <a:gd name="connsiteY6" fmla="*/ 200749 h 812482"/>
                  <a:gd name="connsiteX7" fmla="*/ 0 w 723900"/>
                  <a:gd name="connsiteY7" fmla="*/ 303171 h 812482"/>
                  <a:gd name="connsiteX8" fmla="*/ 0 w 723900"/>
                  <a:gd name="connsiteY8" fmla="*/ 812483 h 812482"/>
                  <a:gd name="connsiteX9" fmla="*/ 723900 w 723900"/>
                  <a:gd name="connsiteY9" fmla="*/ 812483 h 812482"/>
                  <a:gd name="connsiteX10" fmla="*/ 723900 w 723900"/>
                  <a:gd name="connsiteY10" fmla="*/ 303171 h 812482"/>
                  <a:gd name="connsiteX11" fmla="*/ 600075 w 723900"/>
                  <a:gd name="connsiteY11" fmla="*/ 225514 h 812482"/>
                  <a:gd name="connsiteX12" fmla="*/ 700240 w 723900"/>
                  <a:gd name="connsiteY12" fmla="*/ 308381 h 812482"/>
                  <a:gd name="connsiteX13" fmla="*/ 600075 w 723900"/>
                  <a:gd name="connsiteY13" fmla="*/ 408489 h 812482"/>
                  <a:gd name="connsiteX14" fmla="*/ 361950 w 723900"/>
                  <a:gd name="connsiteY14" fmla="*/ 24813 h 812482"/>
                  <a:gd name="connsiteX15" fmla="*/ 460800 w 723900"/>
                  <a:gd name="connsiteY15" fmla="*/ 107633 h 812482"/>
                  <a:gd name="connsiteX16" fmla="*/ 263100 w 723900"/>
                  <a:gd name="connsiteY16" fmla="*/ 107633 h 812482"/>
                  <a:gd name="connsiteX17" fmla="*/ 142875 w 723900"/>
                  <a:gd name="connsiteY17" fmla="*/ 126683 h 812482"/>
                  <a:gd name="connsiteX18" fmla="*/ 581025 w 723900"/>
                  <a:gd name="connsiteY18" fmla="*/ 126683 h 812482"/>
                  <a:gd name="connsiteX19" fmla="*/ 581025 w 723900"/>
                  <a:gd name="connsiteY19" fmla="*/ 427539 h 812482"/>
                  <a:gd name="connsiteX20" fmla="*/ 466230 w 723900"/>
                  <a:gd name="connsiteY20" fmla="*/ 542334 h 812482"/>
                  <a:gd name="connsiteX21" fmla="*/ 257632 w 723900"/>
                  <a:gd name="connsiteY21" fmla="*/ 542334 h 812482"/>
                  <a:gd name="connsiteX22" fmla="*/ 142875 w 723900"/>
                  <a:gd name="connsiteY22" fmla="*/ 427539 h 812482"/>
                  <a:gd name="connsiteX23" fmla="*/ 123825 w 723900"/>
                  <a:gd name="connsiteY23" fmla="*/ 225476 h 812482"/>
                  <a:gd name="connsiteX24" fmla="*/ 123825 w 723900"/>
                  <a:gd name="connsiteY24" fmla="*/ 408489 h 812482"/>
                  <a:gd name="connsiteX25" fmla="*/ 23660 w 723900"/>
                  <a:gd name="connsiteY25" fmla="*/ 308324 h 812482"/>
                  <a:gd name="connsiteX26" fmla="*/ 19212 w 723900"/>
                  <a:gd name="connsiteY26" fmla="*/ 330813 h 812482"/>
                  <a:gd name="connsiteX27" fmla="*/ 243707 w 723900"/>
                  <a:gd name="connsiteY27" fmla="*/ 555308 h 812482"/>
                  <a:gd name="connsiteX28" fmla="*/ 19212 w 723900"/>
                  <a:gd name="connsiteY28" fmla="*/ 779802 h 812482"/>
                  <a:gd name="connsiteX29" fmla="*/ 19078 w 723900"/>
                  <a:gd name="connsiteY29" fmla="*/ 779801 h 812482"/>
                  <a:gd name="connsiteX30" fmla="*/ 19050 w 723900"/>
                  <a:gd name="connsiteY30" fmla="*/ 779736 h 812482"/>
                  <a:gd name="connsiteX31" fmla="*/ 19050 w 723900"/>
                  <a:gd name="connsiteY31" fmla="*/ 330879 h 812482"/>
                  <a:gd name="connsiteX32" fmla="*/ 19146 w 723900"/>
                  <a:gd name="connsiteY32" fmla="*/ 330785 h 812482"/>
                  <a:gd name="connsiteX33" fmla="*/ 19212 w 723900"/>
                  <a:gd name="connsiteY33" fmla="*/ 330813 h 812482"/>
                  <a:gd name="connsiteX34" fmla="*/ 32747 w 723900"/>
                  <a:gd name="connsiteY34" fmla="*/ 793433 h 812482"/>
                  <a:gd name="connsiteX35" fmla="*/ 32653 w 723900"/>
                  <a:gd name="connsiteY35" fmla="*/ 793336 h 812482"/>
                  <a:gd name="connsiteX36" fmla="*/ 32680 w 723900"/>
                  <a:gd name="connsiteY36" fmla="*/ 793271 h 812482"/>
                  <a:gd name="connsiteX37" fmla="*/ 260928 w 723900"/>
                  <a:gd name="connsiteY37" fmla="*/ 565033 h 812482"/>
                  <a:gd name="connsiteX38" fmla="*/ 462972 w 723900"/>
                  <a:gd name="connsiteY38" fmla="*/ 565033 h 812482"/>
                  <a:gd name="connsiteX39" fmla="*/ 691220 w 723900"/>
                  <a:gd name="connsiteY39" fmla="*/ 793271 h 812482"/>
                  <a:gd name="connsiteX40" fmla="*/ 691219 w 723900"/>
                  <a:gd name="connsiteY40" fmla="*/ 793405 h 812482"/>
                  <a:gd name="connsiteX41" fmla="*/ 691153 w 723900"/>
                  <a:gd name="connsiteY41" fmla="*/ 793433 h 812482"/>
                  <a:gd name="connsiteX42" fmla="*/ 704688 w 723900"/>
                  <a:gd name="connsiteY42" fmla="*/ 779802 h 812482"/>
                  <a:gd name="connsiteX43" fmla="*/ 480193 w 723900"/>
                  <a:gd name="connsiteY43" fmla="*/ 555308 h 812482"/>
                  <a:gd name="connsiteX44" fmla="*/ 704688 w 723900"/>
                  <a:gd name="connsiteY44" fmla="*/ 330813 h 812482"/>
                  <a:gd name="connsiteX45" fmla="*/ 704822 w 723900"/>
                  <a:gd name="connsiteY45" fmla="*/ 330814 h 812482"/>
                  <a:gd name="connsiteX46" fmla="*/ 704850 w 723900"/>
                  <a:gd name="connsiteY46" fmla="*/ 330879 h 812482"/>
                  <a:gd name="connsiteX47" fmla="*/ 704850 w 723900"/>
                  <a:gd name="connsiteY47" fmla="*/ 779736 h 812482"/>
                  <a:gd name="connsiteX48" fmla="*/ 704754 w 723900"/>
                  <a:gd name="connsiteY48" fmla="*/ 779830 h 812482"/>
                  <a:gd name="connsiteX49" fmla="*/ 704688 w 723900"/>
                  <a:gd name="connsiteY49" fmla="*/ 779802 h 81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723900" h="812482">
                    <a:moveTo>
                      <a:pt x="600075" y="200749"/>
                    </a:moveTo>
                    <a:lnTo>
                      <a:pt x="600075" y="107633"/>
                    </a:lnTo>
                    <a:lnTo>
                      <a:pt x="490471" y="107633"/>
                    </a:lnTo>
                    <a:lnTo>
                      <a:pt x="361950" y="0"/>
                    </a:lnTo>
                    <a:lnTo>
                      <a:pt x="233429" y="107633"/>
                    </a:lnTo>
                    <a:lnTo>
                      <a:pt x="123825" y="107633"/>
                    </a:lnTo>
                    <a:lnTo>
                      <a:pt x="123825" y="200749"/>
                    </a:lnTo>
                    <a:lnTo>
                      <a:pt x="0" y="303171"/>
                    </a:lnTo>
                    <a:lnTo>
                      <a:pt x="0" y="812483"/>
                    </a:lnTo>
                    <a:lnTo>
                      <a:pt x="723900" y="812483"/>
                    </a:lnTo>
                    <a:lnTo>
                      <a:pt x="723900" y="303171"/>
                    </a:lnTo>
                    <a:close/>
                    <a:moveTo>
                      <a:pt x="600075" y="225514"/>
                    </a:moveTo>
                    <a:lnTo>
                      <a:pt x="700240" y="308381"/>
                    </a:lnTo>
                    <a:lnTo>
                      <a:pt x="600075" y="408489"/>
                    </a:lnTo>
                    <a:close/>
                    <a:moveTo>
                      <a:pt x="361950" y="24813"/>
                    </a:moveTo>
                    <a:lnTo>
                      <a:pt x="460800" y="107633"/>
                    </a:lnTo>
                    <a:lnTo>
                      <a:pt x="263100" y="107633"/>
                    </a:lnTo>
                    <a:close/>
                    <a:moveTo>
                      <a:pt x="142875" y="126683"/>
                    </a:moveTo>
                    <a:lnTo>
                      <a:pt x="581025" y="126683"/>
                    </a:lnTo>
                    <a:lnTo>
                      <a:pt x="581025" y="427539"/>
                    </a:lnTo>
                    <a:lnTo>
                      <a:pt x="466230" y="542334"/>
                    </a:lnTo>
                    <a:cubicBezTo>
                      <a:pt x="405944" y="491621"/>
                      <a:pt x="317918" y="491621"/>
                      <a:pt x="257632" y="542334"/>
                    </a:cubicBezTo>
                    <a:lnTo>
                      <a:pt x="142875" y="427539"/>
                    </a:lnTo>
                    <a:close/>
                    <a:moveTo>
                      <a:pt x="123825" y="225476"/>
                    </a:moveTo>
                    <a:lnTo>
                      <a:pt x="123825" y="408489"/>
                    </a:lnTo>
                    <a:lnTo>
                      <a:pt x="23660" y="308324"/>
                    </a:lnTo>
                    <a:close/>
                    <a:moveTo>
                      <a:pt x="19212" y="330813"/>
                    </a:moveTo>
                    <a:lnTo>
                      <a:pt x="243707" y="555308"/>
                    </a:lnTo>
                    <a:lnTo>
                      <a:pt x="19212" y="779802"/>
                    </a:lnTo>
                    <a:cubicBezTo>
                      <a:pt x="19175" y="779839"/>
                      <a:pt x="19114" y="779838"/>
                      <a:pt x="19078" y="779801"/>
                    </a:cubicBezTo>
                    <a:cubicBezTo>
                      <a:pt x="19060" y="779783"/>
                      <a:pt x="19050" y="779760"/>
                      <a:pt x="19050" y="779736"/>
                    </a:cubicBezTo>
                    <a:lnTo>
                      <a:pt x="19050" y="330879"/>
                    </a:lnTo>
                    <a:cubicBezTo>
                      <a:pt x="19051" y="330827"/>
                      <a:pt x="19094" y="330785"/>
                      <a:pt x="19146" y="330785"/>
                    </a:cubicBezTo>
                    <a:cubicBezTo>
                      <a:pt x="19171" y="330786"/>
                      <a:pt x="19195" y="330796"/>
                      <a:pt x="19212" y="330813"/>
                    </a:cubicBezTo>
                    <a:close/>
                    <a:moveTo>
                      <a:pt x="32747" y="793433"/>
                    </a:moveTo>
                    <a:cubicBezTo>
                      <a:pt x="32695" y="793432"/>
                      <a:pt x="32653" y="793389"/>
                      <a:pt x="32653" y="793336"/>
                    </a:cubicBezTo>
                    <a:cubicBezTo>
                      <a:pt x="32654" y="793312"/>
                      <a:pt x="32663" y="793288"/>
                      <a:pt x="32680" y="793271"/>
                    </a:cubicBezTo>
                    <a:lnTo>
                      <a:pt x="260928" y="565033"/>
                    </a:lnTo>
                    <a:cubicBezTo>
                      <a:pt x="316755" y="509323"/>
                      <a:pt x="407145" y="509323"/>
                      <a:pt x="462972" y="565033"/>
                    </a:cubicBezTo>
                    <a:lnTo>
                      <a:pt x="691220" y="793271"/>
                    </a:lnTo>
                    <a:cubicBezTo>
                      <a:pt x="691257" y="793308"/>
                      <a:pt x="691256" y="793369"/>
                      <a:pt x="691219" y="793405"/>
                    </a:cubicBezTo>
                    <a:cubicBezTo>
                      <a:pt x="691201" y="793422"/>
                      <a:pt x="691178" y="793433"/>
                      <a:pt x="691153" y="793433"/>
                    </a:cubicBezTo>
                    <a:close/>
                    <a:moveTo>
                      <a:pt x="704688" y="779802"/>
                    </a:moveTo>
                    <a:lnTo>
                      <a:pt x="480193" y="555308"/>
                    </a:lnTo>
                    <a:lnTo>
                      <a:pt x="704688" y="330813"/>
                    </a:lnTo>
                    <a:cubicBezTo>
                      <a:pt x="704725" y="330776"/>
                      <a:pt x="704786" y="330777"/>
                      <a:pt x="704822" y="330814"/>
                    </a:cubicBezTo>
                    <a:cubicBezTo>
                      <a:pt x="704840" y="330832"/>
                      <a:pt x="704850" y="330855"/>
                      <a:pt x="704850" y="330879"/>
                    </a:cubicBezTo>
                    <a:lnTo>
                      <a:pt x="704850" y="779736"/>
                    </a:lnTo>
                    <a:cubicBezTo>
                      <a:pt x="704849" y="779788"/>
                      <a:pt x="704806" y="779830"/>
                      <a:pt x="704754" y="779830"/>
                    </a:cubicBezTo>
                    <a:cubicBezTo>
                      <a:pt x="704729" y="779829"/>
                      <a:pt x="704705" y="779819"/>
                      <a:pt x="704688" y="7798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26" name="Picture 2">
                <a:extLst>
                  <a:ext uri="{FF2B5EF4-FFF2-40B4-BE49-F238E27FC236}">
                    <a16:creationId xmlns:a16="http://schemas.microsoft.com/office/drawing/2014/main" id="{681B30FF-E2B3-0D01-67F3-BF244E79BF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800000">
                <a:off x="8705997" y="3008282"/>
                <a:ext cx="821914" cy="361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906081A9-3B6D-8367-710E-0BDD71E96548}"/>
                </a:ext>
              </a:extLst>
            </p:cNvPr>
            <p:cNvSpPr/>
            <p:nvPr/>
          </p:nvSpPr>
          <p:spPr>
            <a:xfrm>
              <a:off x="9178281" y="2871297"/>
              <a:ext cx="760135" cy="775504"/>
            </a:xfrm>
            <a:prstGeom prst="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CB20D00-C3D2-DC40-D299-25A2A7612301}"/>
              </a:ext>
            </a:extLst>
          </p:cNvPr>
          <p:cNvGrpSpPr/>
          <p:nvPr/>
        </p:nvGrpSpPr>
        <p:grpSpPr>
          <a:xfrm>
            <a:off x="7161017" y="4697310"/>
            <a:ext cx="5023644" cy="2160690"/>
            <a:chOff x="7168343" y="4697310"/>
            <a:chExt cx="5023644" cy="2160690"/>
          </a:xfrm>
        </p:grpSpPr>
        <p:pic>
          <p:nvPicPr>
            <p:cNvPr id="28" name="logo2-04.png" descr="logo2-04.png">
              <a:extLst>
                <a:ext uri="{FF2B5EF4-FFF2-40B4-BE49-F238E27FC236}">
                  <a16:creationId xmlns:a16="http://schemas.microsoft.com/office/drawing/2014/main" id="{319D203F-3F4F-A48C-1001-E4B6F4885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058399" y="6257883"/>
              <a:ext cx="2028783" cy="60011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E584F75-23A9-8AA4-3B9A-6706EA77304E}"/>
                </a:ext>
              </a:extLst>
            </p:cNvPr>
            <p:cNvSpPr>
              <a:spLocks/>
            </p:cNvSpPr>
            <p:nvPr/>
          </p:nvSpPr>
          <p:spPr>
            <a:xfrm>
              <a:off x="7449847" y="4920395"/>
              <a:ext cx="4637332" cy="17518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pt-BR" dirty="0">
                  <a:solidFill>
                    <a:schemeClr val="tx1"/>
                  </a:solidFill>
                </a:rPr>
                <a:t>Passo 4 – Em alguns produtos.. .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4" descr="Earn a $25 gift card!">
              <a:extLst>
                <a:ext uri="{FF2B5EF4-FFF2-40B4-BE49-F238E27FC236}">
                  <a16:creationId xmlns:a16="http://schemas.microsoft.com/office/drawing/2014/main" id="{46B009C0-E1C1-0F16-C0F1-972B49F909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8343" y="5562744"/>
              <a:ext cx="4918837" cy="1093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Star: 32 Points 30">
              <a:extLst>
                <a:ext uri="{FF2B5EF4-FFF2-40B4-BE49-F238E27FC236}">
                  <a16:creationId xmlns:a16="http://schemas.microsoft.com/office/drawing/2014/main" id="{1BABB58E-F498-1F0B-D1A7-FB6E4693214E}"/>
                </a:ext>
              </a:extLst>
            </p:cNvPr>
            <p:cNvSpPr/>
            <p:nvPr/>
          </p:nvSpPr>
          <p:spPr>
            <a:xfrm>
              <a:off x="10062246" y="4697310"/>
              <a:ext cx="2129741" cy="1182018"/>
            </a:xfrm>
            <a:prstGeom prst="star32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err="1">
                  <a:solidFill>
                    <a:schemeClr val="tx1"/>
                  </a:solidFill>
                </a:rPr>
                <a:t>Gift</a:t>
              </a:r>
              <a:r>
                <a:rPr lang="pt-BR" dirty="0">
                  <a:solidFill>
                    <a:schemeClr val="tx1"/>
                  </a:solidFill>
                </a:rPr>
                <a:t> card U$ 2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79CB209-9618-673D-86B9-77EFBF77C989}"/>
              </a:ext>
            </a:extLst>
          </p:cNvPr>
          <p:cNvSpPr/>
          <p:nvPr/>
        </p:nvSpPr>
        <p:spPr>
          <a:xfrm>
            <a:off x="3596503" y="198734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AP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76942FE-3585-222E-6CE2-491A2E8EAE4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21673" y="2207187"/>
            <a:ext cx="1043221" cy="104322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057A6B9-A7C9-C851-F4B6-583F1043464F}"/>
              </a:ext>
            </a:extLst>
          </p:cNvPr>
          <p:cNvSpPr/>
          <p:nvPr/>
        </p:nvSpPr>
        <p:spPr>
          <a:xfrm>
            <a:off x="256150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RP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DD75B2-FD89-518D-1D01-C4B41D44B3AD}"/>
              </a:ext>
            </a:extLst>
          </p:cNvPr>
          <p:cNvSpPr/>
          <p:nvPr/>
        </p:nvSpPr>
        <p:spPr>
          <a:xfrm>
            <a:off x="1252325" y="3370216"/>
            <a:ext cx="1315483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Process</a:t>
            </a:r>
            <a:r>
              <a:rPr lang="pt-BR" sz="1400" b="1" dirty="0">
                <a:solidFill>
                  <a:schemeClr val="tx1"/>
                </a:solidFill>
              </a:rPr>
              <a:t> Mining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678EBA-6303-70F6-70C7-F9608E6D1618}"/>
              </a:ext>
            </a:extLst>
          </p:cNvPr>
          <p:cNvSpPr/>
          <p:nvPr/>
        </p:nvSpPr>
        <p:spPr>
          <a:xfrm>
            <a:off x="242854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tx1"/>
                </a:solidFill>
              </a:rPr>
              <a:t>BAW/BPM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30E1488-02C9-C51B-EEA0-0C824ED8446F}"/>
              </a:ext>
            </a:extLst>
          </p:cNvPr>
          <p:cNvGrpSpPr/>
          <p:nvPr/>
        </p:nvGrpSpPr>
        <p:grpSpPr>
          <a:xfrm>
            <a:off x="225013" y="3612862"/>
            <a:ext cx="4539309" cy="1106319"/>
            <a:chOff x="225013" y="2498977"/>
            <a:chExt cx="5423434" cy="1321798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6DE9315-30E5-14F0-E1DD-F3711665E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25013" y="2498977"/>
              <a:ext cx="1246954" cy="1294009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C3E9E9F-C90D-2CC5-34B9-3E247BD2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617675" y="2540660"/>
              <a:ext cx="1242329" cy="126622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CEF912D-C34F-5B6E-0907-D4CB9C83A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005713" y="2526766"/>
              <a:ext cx="1309886" cy="129400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5AC86F5-C9D3-B37A-FBAC-12716FC1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398530" y="2550248"/>
              <a:ext cx="1249917" cy="1242006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D0760852-15EF-2912-181A-99C495FD3F5A}"/>
              </a:ext>
            </a:extLst>
          </p:cNvPr>
          <p:cNvSpPr/>
          <p:nvPr/>
        </p:nvSpPr>
        <p:spPr>
          <a:xfrm>
            <a:off x="3602689" y="3387998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Filene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100ED8F-93EB-ADC2-97DE-7595AA4BE465}"/>
              </a:ext>
            </a:extLst>
          </p:cNvPr>
          <p:cNvSpPr/>
          <p:nvPr/>
        </p:nvSpPr>
        <p:spPr>
          <a:xfrm>
            <a:off x="4728780" y="1962590"/>
            <a:ext cx="1224952" cy="240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err="1">
                <a:solidFill>
                  <a:schemeClr val="tx1"/>
                </a:solidFill>
              </a:rPr>
              <a:t>Turbonomic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5B86E5FC-CF9C-6213-09ED-203B739FC71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786096" y="2164503"/>
            <a:ext cx="1183459" cy="109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2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E5AE116D-2945-B5CF-2AE7-A5F402E27D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99B4F1-0E52-EFD2-935E-2A9C9FCCCD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77C67E-9EF9-7454-1B08-1AA4BC330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BCE7AF-8A20-BAF1-A406-5F9E1BD4C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0E7406-BB86-FB75-A43D-F0847DDE5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logo2-04.png" descr="logo2-04.png">
            <a:extLst>
              <a:ext uri="{FF2B5EF4-FFF2-40B4-BE49-F238E27FC236}">
                <a16:creationId xmlns:a16="http://schemas.microsoft.com/office/drawing/2014/main" id="{2F2A8E69-42D0-3A1C-7469-64CD03D17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C5002C4-AC8A-185A-D1CF-C8165FAF6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BD09CB-7EE3-698A-1749-51867EEE2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F1609E-DB3F-AB24-EA5D-CA5F79708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8C14B7-6527-3783-7704-9B5878710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EE464A-9886-1BEF-A4D0-5499892F0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logo2-04.png" descr="logo2-04.png">
            <a:extLst>
              <a:ext uri="{FF2B5EF4-FFF2-40B4-BE49-F238E27FC236}">
                <a16:creationId xmlns:a16="http://schemas.microsoft.com/office/drawing/2014/main" id="{F17C62B7-A7B1-BF37-FC06-7CDB52AE2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DD8A577-52A2-5684-3A9D-F5FCD93A6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uso de licenças nos Cloud </a:t>
            </a:r>
            <a:r>
              <a:rPr kumimoji="0" lang="pt-BR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aks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license usa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1332770-0F95-04EC-ED50-38B19C40E64A}"/>
              </a:ext>
            </a:extLst>
          </p:cNvPr>
          <p:cNvSpPr txBox="1"/>
          <p:nvPr/>
        </p:nvSpPr>
        <p:spPr>
          <a:xfrm>
            <a:off x="104818" y="6491595"/>
            <a:ext cx="60944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hlinkClick r:id="rId3"/>
              </a:rPr>
              <a:t>https://app.ibmsalesconfigurator.com/#/</a:t>
            </a:r>
            <a:r>
              <a:rPr lang="en-US" sz="900" dirty="0"/>
              <a:t>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9EFA44-6B18-5531-ECF2-EECF103AB4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570" y="1328207"/>
            <a:ext cx="3981623" cy="4708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130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B28408D-88D8-4B83-AE71-1294D5961C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B28408D-88D8-4B83-AE71-1294D5961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03248A-BDA0-4D8E-8451-A0C804B42F5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621">
              <a:defRPr/>
            </a:pPr>
            <a:endParaRPr lang="en-US" sz="5867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 sz="900">
                <a:solidFill>
                  <a:srgbClr val="000000"/>
                </a:solidFill>
              </a:rPr>
              <a:pPr defTabSz="914621">
                <a:defRPr/>
              </a:pPr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… is to engage with you as you deploy, adopt and use IBM technology to ensure that [Client Name]  obtains the most value possible from our offerings.">
            <a:extLst>
              <a:ext uri="{FF2B5EF4-FFF2-40B4-BE49-F238E27FC236}">
                <a16:creationId xmlns:a16="http://schemas.microsoft.com/office/drawing/2014/main" id="{0B61165B-76B7-41CF-AF0D-6EF2A7AC4F28}"/>
              </a:ext>
            </a:extLst>
          </p:cNvPr>
          <p:cNvSpPr txBox="1">
            <a:spLocks/>
          </p:cNvSpPr>
          <p:nvPr/>
        </p:nvSpPr>
        <p:spPr>
          <a:xfrm>
            <a:off x="495345" y="1905000"/>
            <a:ext cx="11201311" cy="3427908"/>
          </a:xfrm>
          <a:prstGeom prst="rect">
            <a:avLst/>
          </a:prstGeom>
        </p:spPr>
        <p:txBody>
          <a:bodyPr wrap="square"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IBM Plex Sans" pitchFamily="2" charset="2"/>
              <a:buNone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" charset="-120"/>
              <a:buChar char="–"/>
              <a:tabLst/>
              <a:defRPr sz="1867" b="0" i="0" baseline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bg1"/>
              </a:buClr>
              <a:buFont typeface="IBM Plex Sans" charset="-120"/>
              <a:buChar char="»"/>
              <a:tabLst/>
              <a:defRPr sz="1867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pPr>
              <a:defRPr sz="9300"/>
            </a:pPr>
            <a:r>
              <a:rPr lang="en-US" sz="4000" kern="0" dirty="0">
                <a:solidFill>
                  <a:schemeClr val="tx1"/>
                </a:solidFill>
              </a:rPr>
              <a:t>… é </a:t>
            </a:r>
            <a:r>
              <a:rPr lang="en-US" sz="4000" kern="0" dirty="0" err="1">
                <a:solidFill>
                  <a:schemeClr val="tx1"/>
                </a:solidFill>
              </a:rPr>
              <a:t>engajar</a:t>
            </a:r>
            <a:r>
              <a:rPr lang="en-US" sz="4000" kern="0" dirty="0">
                <a:solidFill>
                  <a:schemeClr val="tx1"/>
                </a:solidFill>
              </a:rPr>
              <a:t> com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parceiro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durante</a:t>
            </a:r>
            <a:r>
              <a:rPr lang="en-US" sz="4000" kern="0" dirty="0">
                <a:solidFill>
                  <a:schemeClr val="tx1"/>
                </a:solidFill>
              </a:rPr>
              <a:t> a </a:t>
            </a:r>
            <a:r>
              <a:rPr lang="en-US" sz="4000" kern="0" dirty="0" err="1">
                <a:solidFill>
                  <a:schemeClr val="tx1"/>
                </a:solidFill>
              </a:rPr>
              <a:t>implementação</a:t>
            </a:r>
            <a:r>
              <a:rPr lang="en-US" sz="4000" kern="0" dirty="0">
                <a:solidFill>
                  <a:schemeClr val="tx1"/>
                </a:solidFill>
              </a:rPr>
              <a:t>, </a:t>
            </a:r>
            <a:r>
              <a:rPr lang="en-US" sz="4000" kern="0" dirty="0" err="1">
                <a:solidFill>
                  <a:schemeClr val="tx1"/>
                </a:solidFill>
              </a:rPr>
              <a:t>adoção</a:t>
            </a:r>
            <a:r>
              <a:rPr lang="en-US" sz="4000" kern="0" dirty="0">
                <a:solidFill>
                  <a:schemeClr val="tx1"/>
                </a:solidFill>
              </a:rPr>
              <a:t> e </a:t>
            </a:r>
            <a:r>
              <a:rPr lang="en-US" sz="4000" kern="0" dirty="0" err="1">
                <a:solidFill>
                  <a:schemeClr val="tx1"/>
                </a:solidFill>
              </a:rPr>
              <a:t>uso</a:t>
            </a:r>
            <a:r>
              <a:rPr lang="en-US" sz="4000" kern="0" dirty="0">
                <a:solidFill>
                  <a:schemeClr val="tx1"/>
                </a:solidFill>
              </a:rPr>
              <a:t> das </a:t>
            </a:r>
            <a:r>
              <a:rPr lang="en-US" sz="4000" kern="0" dirty="0" err="1">
                <a:solidFill>
                  <a:schemeClr val="tx1"/>
                </a:solidFill>
              </a:rPr>
              <a:t>tecnologias</a:t>
            </a:r>
            <a:r>
              <a:rPr lang="en-US" sz="4000" kern="0" dirty="0">
                <a:solidFill>
                  <a:schemeClr val="tx1"/>
                </a:solidFill>
              </a:rPr>
              <a:t> da IBM para </a:t>
            </a:r>
            <a:r>
              <a:rPr lang="en-US" sz="4000" kern="0" dirty="0" err="1">
                <a:solidFill>
                  <a:schemeClr val="tx1"/>
                </a:solidFill>
              </a:rPr>
              <a:t>garantir</a:t>
            </a:r>
            <a:r>
              <a:rPr lang="en-US" sz="4000" kern="0" dirty="0">
                <a:solidFill>
                  <a:schemeClr val="tx1"/>
                </a:solidFill>
              </a:rPr>
              <a:t> que o </a:t>
            </a:r>
            <a:r>
              <a:rPr lang="en-US" sz="4000" kern="0" dirty="0" err="1">
                <a:solidFill>
                  <a:schemeClr val="tx1"/>
                </a:solidFill>
              </a:rPr>
              <a:t>cliente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btenha</a:t>
            </a:r>
            <a:r>
              <a:rPr lang="en-US" sz="4000" kern="0" dirty="0">
                <a:solidFill>
                  <a:schemeClr val="tx1"/>
                </a:solidFill>
              </a:rPr>
              <a:t> o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máximo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valor </a:t>
            </a:r>
            <a:r>
              <a:rPr lang="en-US" sz="4000" b="1" kern="0" dirty="0" err="1">
                <a:solidFill>
                  <a:srgbClr val="0F62FE"/>
                </a:solidFill>
                <a:latin typeface="IBM Plex Sans"/>
              </a:rPr>
              <a:t>possível</a:t>
            </a:r>
            <a:r>
              <a:rPr lang="en-US" sz="4000" b="1" kern="0" dirty="0">
                <a:solidFill>
                  <a:srgbClr val="0F62FE"/>
                </a:solidFill>
                <a:latin typeface="IBM Plex Sans"/>
              </a:rPr>
              <a:t> </a:t>
            </a:r>
            <a:r>
              <a:rPr lang="en-US" sz="4000" kern="0" dirty="0">
                <a:solidFill>
                  <a:schemeClr val="tx1"/>
                </a:solidFill>
              </a:rPr>
              <a:t>das </a:t>
            </a:r>
            <a:r>
              <a:rPr lang="en-US" sz="4000" kern="0" dirty="0" err="1">
                <a:solidFill>
                  <a:schemeClr val="tx1"/>
                </a:solidFill>
              </a:rPr>
              <a:t>nossas</a:t>
            </a:r>
            <a:r>
              <a:rPr lang="en-US" sz="4000" kern="0" dirty="0">
                <a:solidFill>
                  <a:schemeClr val="tx1"/>
                </a:solidFill>
              </a:rPr>
              <a:t> </a:t>
            </a:r>
            <a:r>
              <a:rPr lang="en-US" sz="4000" kern="0" dirty="0" err="1">
                <a:solidFill>
                  <a:schemeClr val="tx1"/>
                </a:solidFill>
              </a:rPr>
              <a:t>ofertas</a:t>
            </a:r>
            <a:r>
              <a:rPr lang="en-US" sz="4000" kern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69F55DB-477E-42C6-A4C2-1C436616B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274320"/>
            <a:ext cx="11612791" cy="763407"/>
          </a:xfrm>
        </p:spPr>
        <p:txBody>
          <a:bodyPr anchor="ctr">
            <a:normAutofit fontScale="90000"/>
          </a:bodyPr>
          <a:lstStyle/>
          <a:p>
            <a:r>
              <a:rPr lang="pt-BR" sz="3600" dirty="0">
                <a:solidFill>
                  <a:schemeClr val="tx1"/>
                </a:solidFill>
              </a:rPr>
              <a:t>A missão do </a:t>
            </a:r>
            <a:r>
              <a:rPr lang="pt-BR" sz="3600" dirty="0" err="1">
                <a:solidFill>
                  <a:schemeClr val="tx1"/>
                </a:solidFill>
              </a:rPr>
              <a:t>Customer</a:t>
            </a:r>
            <a:r>
              <a:rPr lang="pt-BR" sz="3600" dirty="0">
                <a:solidFill>
                  <a:schemeClr val="tx1"/>
                </a:solidFill>
              </a:rPr>
              <a:t> </a:t>
            </a:r>
            <a:r>
              <a:rPr lang="pt-BR" sz="3600" dirty="0" err="1">
                <a:solidFill>
                  <a:schemeClr val="tx1"/>
                </a:solidFill>
              </a:rPr>
              <a:t>Success</a:t>
            </a:r>
            <a:r>
              <a:rPr lang="pt-BR" sz="3600" dirty="0">
                <a:solidFill>
                  <a:schemeClr val="tx1"/>
                </a:solidFill>
              </a:rPr>
              <a:t> Manager…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D1E91762-A533-5953-92A7-0E2F1A7DC9D6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>
                <a:solidFill>
                  <a:schemeClr val="tx1"/>
                </a:solidFill>
              </a:rPr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06988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1F70DC-4976-0C27-8145-4C09FD39D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1C69DE6-46CA-4B05-947F-A3539849E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F8B246-281B-E04A-3202-4EB750A03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5DE83-148A-7728-FAF8-455EA9D0B6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CCEDB-AC97-3D73-2A0B-48CFDA14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82DBD6-2A6B-44A3-9A0F-C7513CB49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3F15D5-01E7-9E5C-35C5-CDED6F95F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9F556689-7825-8E83-D2FF-6900951E49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FD49A7-7C7F-5823-5C8E-F4F868E169BC}"/>
              </a:ext>
            </a:extLst>
          </p:cNvPr>
          <p:cNvSpPr txBox="1"/>
          <p:nvPr/>
        </p:nvSpPr>
        <p:spPr>
          <a:xfrm>
            <a:off x="184458" y="6512612"/>
            <a:ext cx="609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p%20connect%20enterprise</a:t>
            </a:r>
            <a:r>
              <a:rPr lang="en-US" sz="800" dirty="0"/>
              <a:t> </a:t>
            </a:r>
          </a:p>
          <a:p>
            <a:r>
              <a:rPr lang="en-US" sz="800" dirty="0">
                <a:hlinkClick r:id="rId4"/>
              </a:rPr>
              <a:t>https://www.ibm.com/support/pages/lifecycle/search?q=ibm%20integration%20bus</a:t>
            </a:r>
            <a:r>
              <a:rPr lang="en-US" sz="800" dirty="0"/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8FEEC2-1DE4-2ED7-0B0D-07388127420D}"/>
              </a:ext>
            </a:extLst>
          </p:cNvPr>
          <p:cNvCxnSpPr>
            <a:cxnSpLocks/>
          </p:cNvCxnSpPr>
          <p:nvPr/>
        </p:nvCxnSpPr>
        <p:spPr>
          <a:xfrm>
            <a:off x="1031892" y="4704203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64333162-7FFE-1498-1036-40A2621557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598"/>
          <a:stretch/>
        </p:blipFill>
        <p:spPr>
          <a:xfrm>
            <a:off x="1064265" y="2492486"/>
            <a:ext cx="8994134" cy="155302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D4AC3D8-A433-C36E-30FC-3C87E61BE53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7531"/>
          <a:stretch/>
        </p:blipFill>
        <p:spPr>
          <a:xfrm>
            <a:off x="1108572" y="4045514"/>
            <a:ext cx="8849423" cy="6430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B021867-15FB-CDDD-DAC8-45E6F8D068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65587AC-AA9E-DA7C-67FC-9793D21FE089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FC130812-3308-EFCE-4937-7F2EAFF295D2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5014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318A8D-EA16-9632-845D-AB3E79045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591A328-5352-41DE-FD36-C9E5B935B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A92772-F389-7508-38B2-860198AA2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1EE7FE-77CC-4A00-1C69-BCA4DAB2A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65339-2A9A-B3E3-CC82-0838FF9342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408FEA-0701-0BA5-B9CF-327FE8852F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475353-0B79-E280-5808-2790DC4FA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20C720-2A7A-A420-2308-1CD9769EDC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8DDDD64-DD4E-A73B-9935-5299127F0D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C58196EF-638F-7273-D503-EB34F8F74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523EC5-750E-7935-AF4D-CD027105E9AA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4"/>
              </a:rPr>
              <a:t>https://www.ibm.com/support/pages/lifecycle/search?q=ibm%20mq</a:t>
            </a:r>
            <a:r>
              <a:rPr lang="en-US" sz="800" dirty="0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7F242D-BA0B-F55C-1F6E-019FF514BA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8848B4-9BFF-AA43-C715-BEA51A086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638D7EC-7398-29D4-7B74-9D61859FAFB3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5852559-096E-0E94-4496-47E6DFA7DC69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CAF7C5E1-17BE-1DF0-1A7F-D0DB0714F0F7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3064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36B6DA-D4E3-DF56-8049-3CF3411009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89E75CA-9A79-74F7-FBE8-E9CE6EE6C6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F9E8C1-4148-6C7F-EA4C-429C2D3D48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1E6204-162F-2C79-977C-9B7FDC3281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19CBC-63EE-FFB0-0965-9307733DE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00BEC7-5ADD-B58F-3D84-BBC3A1CD1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43E6B8-AE3F-BA4D-E31D-CDE5CFEA1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D2D769-BC94-EE0F-4B68-A09F4A88B1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525"/>
          <a:stretch/>
        </p:blipFill>
        <p:spPr>
          <a:xfrm>
            <a:off x="1026588" y="3199646"/>
            <a:ext cx="10212052" cy="44172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510614-1E83-1C80-CB3D-D9168833E6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3765"/>
          <a:stretch/>
        </p:blipFill>
        <p:spPr>
          <a:xfrm>
            <a:off x="1034454" y="2535022"/>
            <a:ext cx="10212052" cy="628304"/>
          </a:xfrm>
          <a:prstGeom prst="rect">
            <a:avLst/>
          </a:prstGeom>
        </p:spPr>
      </p:pic>
      <p:pic>
        <p:nvPicPr>
          <p:cNvPr id="5" name="logo2-04.png" descr="logo2-04.png">
            <a:extLst>
              <a:ext uri="{FF2B5EF4-FFF2-40B4-BE49-F238E27FC236}">
                <a16:creationId xmlns:a16="http://schemas.microsoft.com/office/drawing/2014/main" id="{E1AA093F-ED61-83F7-1066-E4390E2F9D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6ABC054-10AC-F06D-73CB-FB5E77CFBD07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4"/>
              </a:rPr>
              <a:t>https://www.ibm.com/support/pages/lifecycle/search/?q=ibm%20Datapower</a:t>
            </a:r>
            <a:r>
              <a:rPr lang="en-US" sz="800"/>
              <a:t> </a:t>
            </a:r>
            <a:endParaRPr lang="en-US" sz="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AC32A1-C318-6BCF-9DE7-CDEF7FFFAB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454" y="2491879"/>
            <a:ext cx="8919128" cy="3887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D06917-7F6B-5E12-72A3-5D3CA17F03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9CDEBA4-F361-7E2B-5E1B-B2563885F2BF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6F0CCA2-EEE3-E6CB-ED60-AB57A684E11E}"/>
              </a:ext>
            </a:extLst>
          </p:cNvPr>
          <p:cNvCxnSpPr>
            <a:cxnSpLocks/>
          </p:cNvCxnSpPr>
          <p:nvPr/>
        </p:nvCxnSpPr>
        <p:spPr>
          <a:xfrm>
            <a:off x="1031892" y="636824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A57FFA8-65E8-224B-7509-97047E684164}"/>
              </a:ext>
            </a:extLst>
          </p:cNvPr>
          <p:cNvSpPr/>
          <p:nvPr/>
        </p:nvSpPr>
        <p:spPr>
          <a:xfrm>
            <a:off x="1108573" y="2541238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265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6B6FFB2-1D3F-A537-DA23-6720B7506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2737B3F-EA92-8DBF-507F-FF2856AEBA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B7F9D6-B2D5-849C-28FB-86EA9E566D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2FC8FC-E47E-2FE9-C858-057F60AF5E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FC6CD0-1C74-0718-3D27-7D457119CA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5D1170-75D8-2068-5A88-BB249AB341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0537DC-41A8-2BD8-B5B2-B467DE1B0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2E717D8E-1FDD-B1B8-BC80-97EA871E1E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6ED1B9-191D-0F12-1304-C6C591AE9CD6}"/>
              </a:ext>
            </a:extLst>
          </p:cNvPr>
          <p:cNvSpPr txBox="1"/>
          <p:nvPr/>
        </p:nvSpPr>
        <p:spPr>
          <a:xfrm>
            <a:off x="184458" y="6512612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?q=ibm%20api%20connect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CC4547-8E34-9767-1C0B-C3959C909A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6F6D00-8C9A-28FA-A779-4ABFDDD01B0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295915B2-965A-873F-6070-27C31B7583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809" y="2482536"/>
            <a:ext cx="8905519" cy="29713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FDDEC15-74D5-22FC-FA2B-9B0D2AF3742E}"/>
              </a:ext>
            </a:extLst>
          </p:cNvPr>
          <p:cNvSpPr/>
          <p:nvPr/>
        </p:nvSpPr>
        <p:spPr>
          <a:xfrm>
            <a:off x="1108573" y="2497170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AC8EC03-C957-90C1-FCA9-1892FF01326D}"/>
              </a:ext>
            </a:extLst>
          </p:cNvPr>
          <p:cNvCxnSpPr>
            <a:cxnSpLocks/>
          </p:cNvCxnSpPr>
          <p:nvPr/>
        </p:nvCxnSpPr>
        <p:spPr>
          <a:xfrm>
            <a:off x="1031892" y="540977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876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CB9870-C38A-E784-C8F7-F64C8421E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568855F-08D8-778E-316A-B267C71C1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DA0EF0-D576-6AF4-390B-F536C9ED75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8476DC-D051-14BF-4C64-778FB1CB8F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E33C22-DFA3-170C-8C31-C7C9BAE824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B54E57-3B9D-876A-B6E9-D57DFE302E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38A199-58A9-9708-8FD2-8B6F8F892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3865AF47-FED3-E843-5F2F-6274653C9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A9C1AD-6E67-83D8-FB11-CB0C8F9D93D0}"/>
              </a:ext>
            </a:extLst>
          </p:cNvPr>
          <p:cNvSpPr txBox="1"/>
          <p:nvPr/>
        </p:nvSpPr>
        <p:spPr>
          <a:xfrm>
            <a:off x="184458" y="6385290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hlinkClick r:id="rId3"/>
              </a:rPr>
              <a:t>https</a:t>
            </a:r>
            <a:r>
              <a:rPr lang="en-US" sz="800" dirty="0">
                <a:hlinkClick r:id="rId3"/>
              </a:rPr>
              <a:t>://www.ibm.com/support/pages/lifecycle/search/?q=ibm%20event%20stream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27EAB0-666F-4E3F-B419-E6E1DE23A3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2880" y="2572947"/>
            <a:ext cx="9916038" cy="9634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F75FE6-BCEB-FFA1-36A4-809BCEF93E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C0BA406-A127-9770-955D-3854228A95B5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CBCF2B6-9946-E3F8-0348-C3051307F456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827DF-2A6E-7649-1D55-DA75BB3FF066}"/>
              </a:ext>
            </a:extLst>
          </p:cNvPr>
          <p:cNvCxnSpPr>
            <a:cxnSpLocks/>
          </p:cNvCxnSpPr>
          <p:nvPr/>
        </p:nvCxnSpPr>
        <p:spPr>
          <a:xfrm>
            <a:off x="1031892" y="3536414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5367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FB64906-6651-B235-7E4F-9424A3F6E6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A0722E0-F374-660E-0D4C-E986893BE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D3803-72F3-6DBC-5806-F00535D02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8D4E6F-7A2E-260D-A2A1-0487BD12F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CF5899-21C7-138E-A3FE-58E10DF93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699FDE-014D-4E07-FEBB-E999A4D96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7DD8CF-B0B2-5B5A-0832-B610A4773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6" name="logo2-04.png" descr="logo2-04.png">
            <a:extLst>
              <a:ext uri="{FF2B5EF4-FFF2-40B4-BE49-F238E27FC236}">
                <a16:creationId xmlns:a16="http://schemas.microsoft.com/office/drawing/2014/main" id="{E51C8ADA-597E-3F3B-8EB1-22BE00E95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0F72D6F-29CC-C47D-80F8-0912C34D29C8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D0D568-FEDE-6462-2D46-F637A62519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39787D7-D60A-1547-BD22-6CC3EECC90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573" y="2574289"/>
            <a:ext cx="9875244" cy="3427141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50F4CB-ECFF-65D7-A159-0F78654BD242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9F541D5-76E9-A484-3C90-1B764557304F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7AE9FC7-8160-0513-E849-338F605ABD6B}"/>
              </a:ext>
            </a:extLst>
          </p:cNvPr>
          <p:cNvCxnSpPr>
            <a:cxnSpLocks/>
          </p:cNvCxnSpPr>
          <p:nvPr/>
        </p:nvCxnSpPr>
        <p:spPr>
          <a:xfrm>
            <a:off x="1031892" y="6012446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9146F90-36C1-38C2-C90E-8A68FC742A81}"/>
              </a:ext>
            </a:extLst>
          </p:cNvPr>
          <p:cNvSpPr/>
          <p:nvPr/>
        </p:nvSpPr>
        <p:spPr>
          <a:xfrm>
            <a:off x="1108573" y="4031263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EAF3DF7-0DDB-8FC5-0F80-B9ADC6E5D58E}"/>
              </a:ext>
            </a:extLst>
          </p:cNvPr>
          <p:cNvSpPr/>
          <p:nvPr/>
        </p:nvSpPr>
        <p:spPr>
          <a:xfrm>
            <a:off x="1108573" y="516227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2550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1BE54-412D-B477-163F-A1BE2B3093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0D7E8D4-B91C-EB53-3712-D44CAF8E92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F7CB04-0484-4E42-74DF-0B0AAA3805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43CC6D-1E1B-9889-EC05-628A3D7CA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7CE429-950A-12E1-0BAD-23C2B5D62E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8874F5-1EBB-A3DF-1465-ACA52998C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4119ED-1C75-A9CA-CF76-8F708F630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iclo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 de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da</a:t>
            </a:r>
            <a:r>
              <a:rPr lang="en-US" sz="4000" kern="0" dirty="0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do </a:t>
            </a:r>
            <a:r>
              <a:rPr lang="en-US" sz="4000" kern="0" dirty="0" err="1">
                <a:solidFill>
                  <a:schemeClr val="bg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roduto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Product Lifecycle</a:t>
            </a:r>
          </a:p>
        </p:txBody>
      </p:sp>
      <p:pic>
        <p:nvPicPr>
          <p:cNvPr id="3" name="logo2-04.png" descr="logo2-04.png">
            <a:extLst>
              <a:ext uri="{FF2B5EF4-FFF2-40B4-BE49-F238E27FC236}">
                <a16:creationId xmlns:a16="http://schemas.microsoft.com/office/drawing/2014/main" id="{746F9737-D800-0288-6997-111060CF84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E0C6E9-3259-D91B-100D-83A2AFEBA72C}"/>
              </a:ext>
            </a:extLst>
          </p:cNvPr>
          <p:cNvSpPr txBox="1"/>
          <p:nvPr/>
        </p:nvSpPr>
        <p:spPr>
          <a:xfrm>
            <a:off x="184458" y="6593636"/>
            <a:ext cx="609407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hlinkClick r:id="rId3"/>
              </a:rPr>
              <a:t>https://www.ibm.com/support/pages/lifecycle/search/?q=aspera</a:t>
            </a:r>
            <a:r>
              <a:rPr lang="en-US" sz="8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23A897-9E36-9D29-B558-332715E9B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194" y="1721497"/>
            <a:ext cx="9010235" cy="7610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B67A9-D48A-1D26-028B-484D092A2CB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951" r="8808" b="10334"/>
          <a:stretch/>
        </p:blipFill>
        <p:spPr>
          <a:xfrm>
            <a:off x="1108573" y="2616943"/>
            <a:ext cx="8734180" cy="348363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CEC19D-21A7-F165-74DE-FAF2C96FCFAB}"/>
              </a:ext>
            </a:extLst>
          </p:cNvPr>
          <p:cNvCxnSpPr>
            <a:cxnSpLocks/>
          </p:cNvCxnSpPr>
          <p:nvPr/>
        </p:nvCxnSpPr>
        <p:spPr>
          <a:xfrm>
            <a:off x="1046194" y="2432790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1FBFCEA0-2143-9D25-756A-0EC4F37944B1}"/>
              </a:ext>
            </a:extLst>
          </p:cNvPr>
          <p:cNvSpPr/>
          <p:nvPr/>
        </p:nvSpPr>
        <p:spPr>
          <a:xfrm>
            <a:off x="1108573" y="257428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8F975B3-CD1E-95AE-BB38-DD1B8F571AE9}"/>
              </a:ext>
            </a:extLst>
          </p:cNvPr>
          <p:cNvCxnSpPr>
            <a:cxnSpLocks/>
          </p:cNvCxnSpPr>
          <p:nvPr/>
        </p:nvCxnSpPr>
        <p:spPr>
          <a:xfrm>
            <a:off x="1031892" y="6100582"/>
            <a:ext cx="8734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EBF5941-3AF0-457A-6D20-37C7F8D03DE0}"/>
              </a:ext>
            </a:extLst>
          </p:cNvPr>
          <p:cNvSpPr/>
          <p:nvPr/>
        </p:nvSpPr>
        <p:spPr>
          <a:xfrm>
            <a:off x="1108573" y="4853885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0DC7D9-D0FD-CF8E-6A0A-65F80C684137}"/>
              </a:ext>
            </a:extLst>
          </p:cNvPr>
          <p:cNvSpPr/>
          <p:nvPr/>
        </p:nvSpPr>
        <p:spPr>
          <a:xfrm>
            <a:off x="1108573" y="3478219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600825E-A0F6-4850-2695-4BC65F411423}"/>
              </a:ext>
            </a:extLst>
          </p:cNvPr>
          <p:cNvSpPr/>
          <p:nvPr/>
        </p:nvSpPr>
        <p:spPr>
          <a:xfrm>
            <a:off x="1108573" y="5692106"/>
            <a:ext cx="8905518" cy="39290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2969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41DE96-5C4A-70ED-C5D5-D0DD877CE5E2}"/>
              </a:ext>
            </a:extLst>
          </p:cNvPr>
          <p:cNvSpPr/>
          <p:nvPr/>
        </p:nvSpPr>
        <p:spPr bwMode="auto">
          <a:xfrm>
            <a:off x="6795248" y="0"/>
            <a:ext cx="5396752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685966">
              <a:defRPr/>
            </a:pPr>
            <a:endParaRPr lang="en-US" sz="1400" dirty="0">
              <a:solidFill>
                <a:srgbClr val="000000"/>
              </a:solidFill>
              <a:latin typeface="IBM Plex Sans" panose="020B0503050203000203" pitchFamily="34" charset="0"/>
              <a:ea typeface="IBM Plex Sans" charset="0"/>
              <a:cs typeface="IBM Plex Sans" charset="0"/>
              <a:sym typeface="Helvetica Neue"/>
            </a:endParaRPr>
          </a:p>
        </p:txBody>
      </p:sp>
      <p:pic>
        <p:nvPicPr>
          <p:cNvPr id="3" name="Picture 2" descr="IBM Logo - PNG e Vetor - Download de Logo">
            <a:extLst>
              <a:ext uri="{FF2B5EF4-FFF2-40B4-BE49-F238E27FC236}">
                <a16:creationId xmlns:a16="http://schemas.microsoft.com/office/drawing/2014/main" id="{257C2506-D653-7D4C-8941-DF39C48F0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780" y="3141314"/>
            <a:ext cx="1424355" cy="57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B77BB9-4EA1-0980-A62F-D47BB478B9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47" t="1553" r="5237" b="2378"/>
          <a:stretch/>
        </p:blipFill>
        <p:spPr>
          <a:xfrm>
            <a:off x="7005067" y="2943225"/>
            <a:ext cx="974725" cy="9715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6A40DB-D30E-F6E2-B534-981C285A1282}"/>
              </a:ext>
            </a:extLst>
          </p:cNvPr>
          <p:cNvSpPr txBox="1"/>
          <p:nvPr/>
        </p:nvSpPr>
        <p:spPr>
          <a:xfrm>
            <a:off x="8044711" y="3005296"/>
            <a:ext cx="41472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2400"/>
            </a:lvl1pPr>
          </a:lstStyle>
          <a:p>
            <a:r>
              <a:rPr lang="pt-BR" sz="1200" dirty="0"/>
              <a:t>Alexandre Zanetti</a:t>
            </a:r>
          </a:p>
          <a:p>
            <a:r>
              <a:rPr lang="pt-BR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re.zanetti@br.ibm.com</a:t>
            </a:r>
            <a:endParaRPr lang="pt-BR" sz="1200" dirty="0"/>
          </a:p>
          <a:p>
            <a:r>
              <a:rPr lang="en-US" sz="1200" dirty="0"/>
              <a:t>55 (11) 98539-4632</a:t>
            </a:r>
          </a:p>
          <a:p>
            <a:r>
              <a:rPr lang="en-US" sz="1200" dirty="0"/>
              <a:t>Advisory Customer Success Manager Technical Specialist</a:t>
            </a:r>
          </a:p>
        </p:txBody>
      </p:sp>
    </p:spTree>
    <p:extLst>
      <p:ext uri="{BB962C8B-B14F-4D97-AF65-F5344CB8AC3E}">
        <p14:creationId xmlns:p14="http://schemas.microsoft.com/office/powerpoint/2010/main" val="37012311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0D93105-AC2E-413D-AEF8-811553D98BF2}"/>
              </a:ext>
            </a:extLst>
          </p:cNvPr>
          <p:cNvSpPr txBox="1">
            <a:spLocks/>
          </p:cNvSpPr>
          <p:nvPr/>
        </p:nvSpPr>
        <p:spPr>
          <a:xfrm>
            <a:off x="0" y="4046855"/>
            <a:ext cx="6096000" cy="2811146"/>
          </a:xfrm>
          <a:prstGeom prst="rect">
            <a:avLst/>
          </a:prstGeom>
          <a:solidFill>
            <a:schemeClr val="tx1"/>
          </a:solidFill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90000"/>
              <a:buFont typeface="IBM Plex Sans" pitchFamily="2" charset="2"/>
              <a:buNone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  <a:lvl2pPr marL="228597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2pPr>
            <a:lvl3pPr marL="457195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3pPr>
            <a:lvl4pPr marL="83819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" charset="-120"/>
              <a:buChar char="–"/>
              <a:tabLst/>
              <a:defRPr sz="1867" baseline="0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4pPr>
            <a:lvl5pPr marL="1071020" indent="-231642" algn="l" rtl="0" eaLnBrk="1" fontAlgn="base" hangingPunct="1">
              <a:lnSpc>
                <a:spcPct val="100000"/>
              </a:lnSpc>
              <a:spcBef>
                <a:spcPts val="1467"/>
              </a:spcBef>
              <a:spcAft>
                <a:spcPct val="0"/>
              </a:spcAft>
              <a:buClr>
                <a:schemeClr val="tx1"/>
              </a:buClr>
              <a:buFont typeface="IBM Plex Sans" charset="-120"/>
              <a:buChar char="»"/>
              <a:tabLst/>
              <a:defRPr sz="1867">
                <a:solidFill>
                  <a:schemeClr val="tx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5pPr>
            <a:lvl6pPr marL="2111575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6pPr>
            <a:lvl7pPr marL="2594990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7pPr>
            <a:lvl8pPr marL="3078403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8pPr>
            <a:lvl9pPr marL="3561818" indent="-1728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" charset="0"/>
              </a:defRPr>
            </a:lvl9pPr>
          </a:lstStyle>
          <a:p>
            <a:endParaRPr lang="en-US" sz="3200" b="1" kern="0" dirty="0">
              <a:solidFill>
                <a:schemeClr val="bg1"/>
              </a:solidFill>
            </a:endParaRPr>
          </a:p>
          <a:p>
            <a:pPr algn="ctr"/>
            <a:r>
              <a:rPr lang="en-US" sz="3200" b="1" kern="0" dirty="0" err="1">
                <a:solidFill>
                  <a:schemeClr val="bg1"/>
                </a:solidFill>
              </a:rPr>
              <a:t>Maximizar</a:t>
            </a:r>
            <a:r>
              <a:rPr lang="en-US" sz="3200" b="1" kern="0" dirty="0">
                <a:solidFill>
                  <a:schemeClr val="bg1"/>
                </a:solidFill>
              </a:rPr>
              <a:t> o </a:t>
            </a:r>
            <a:r>
              <a:rPr lang="en-US" sz="3200" b="1" kern="0" dirty="0" err="1">
                <a:solidFill>
                  <a:schemeClr val="bg1"/>
                </a:solidFill>
              </a:rPr>
              <a:t>retorno</a:t>
            </a:r>
            <a:r>
              <a:rPr lang="en-US" sz="3200" b="1" kern="0" dirty="0">
                <a:solidFill>
                  <a:schemeClr val="bg1"/>
                </a:solidFill>
              </a:rPr>
              <a:t> de </a:t>
            </a:r>
            <a:r>
              <a:rPr lang="en-US" sz="3200" b="1" kern="0" dirty="0" err="1">
                <a:solidFill>
                  <a:schemeClr val="bg1"/>
                </a:solidFill>
              </a:rPr>
              <a:t>investimento</a:t>
            </a:r>
            <a:r>
              <a:rPr lang="en-US" sz="3200" b="1" kern="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do </a:t>
            </a:r>
            <a:r>
              <a:rPr lang="en-US" sz="3200" kern="0" dirty="0" err="1">
                <a:solidFill>
                  <a:schemeClr val="bg1"/>
                </a:solidFill>
              </a:rPr>
              <a:t>cliente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4046855"/>
          </a:xfrm>
          <a:solidFill>
            <a:schemeClr val="accent1"/>
          </a:solidFill>
        </p:spPr>
        <p:txBody>
          <a:bodyPr/>
          <a:lstStyle/>
          <a:p>
            <a:pPr marL="0" indent="0">
              <a:buNone/>
            </a:pPr>
            <a:r>
              <a:rPr lang="en-US" sz="2800" dirty="0" err="1"/>
              <a:t>Demonstrar</a:t>
            </a:r>
            <a:r>
              <a:rPr lang="en-US" sz="2800" dirty="0"/>
              <a:t> valor </a:t>
            </a:r>
            <a:r>
              <a:rPr lang="en-US" sz="2800" dirty="0" err="1"/>
              <a:t>contínuo</a:t>
            </a:r>
            <a:r>
              <a:rPr lang="en-US" sz="2800" dirty="0"/>
              <a:t> por </a:t>
            </a:r>
            <a:r>
              <a:rPr lang="en-US" sz="2800" dirty="0" err="1"/>
              <a:t>meio</a:t>
            </a:r>
            <a:r>
              <a:rPr lang="en-US" sz="2800" dirty="0"/>
              <a:t> da </a:t>
            </a:r>
            <a:r>
              <a:rPr lang="en-US" sz="2800" dirty="0" err="1"/>
              <a:t>utilização</a:t>
            </a:r>
            <a:r>
              <a:rPr lang="en-US" sz="2800" dirty="0"/>
              <a:t> das </a:t>
            </a:r>
            <a:r>
              <a:rPr lang="en-US" sz="2800" dirty="0" err="1"/>
              <a:t>ofertas</a:t>
            </a:r>
            <a:r>
              <a:rPr lang="en-US" sz="2800" dirty="0"/>
              <a:t> de Data &amp; AI, Automation </a:t>
            </a:r>
            <a:r>
              <a:rPr lang="en-US" sz="2800" dirty="0" err="1"/>
              <a:t>ou</a:t>
            </a:r>
            <a:r>
              <a:rPr lang="en-US" sz="2800" dirty="0"/>
              <a:t> Security da IB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4046855"/>
          </a:xfrm>
          <a:solidFill>
            <a:srgbClr val="001D6C"/>
          </a:solidFill>
        </p:spPr>
        <p:txBody>
          <a:bodyPr/>
          <a:lstStyle/>
          <a:p>
            <a:pPr marL="0" indent="0">
              <a:buNone/>
            </a:pPr>
            <a:endParaRPr lang="en-US" sz="3200" b="1" dirty="0"/>
          </a:p>
          <a:p>
            <a:pPr marL="0" indent="0">
              <a:buNone/>
            </a:pPr>
            <a:r>
              <a:rPr lang="en-US" sz="3200" b="1" dirty="0" err="1"/>
              <a:t>Acelerar</a:t>
            </a:r>
            <a:r>
              <a:rPr lang="en-US" sz="3200" b="1" dirty="0"/>
              <a:t> o </a:t>
            </a:r>
            <a:r>
              <a:rPr lang="en-US" sz="3200" b="1" i="1" dirty="0"/>
              <a:t>time to value </a:t>
            </a:r>
            <a:r>
              <a:rPr lang="en-US" sz="3200" dirty="0"/>
              <a:t>do </a:t>
            </a:r>
            <a:r>
              <a:rPr lang="en-US" sz="3200" dirty="0" err="1"/>
              <a:t>client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84260" y="4046854"/>
            <a:ext cx="6107740" cy="2811146"/>
          </a:xfrm>
          <a:solidFill>
            <a:schemeClr val="accent2"/>
          </a:solidFill>
        </p:spPr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GARANTIR O </a:t>
            </a:r>
            <a:r>
              <a:rPr lang="en-US" sz="3200" b="1" dirty="0"/>
              <a:t>SUCESSO</a:t>
            </a:r>
            <a:r>
              <a:rPr lang="en-US" sz="3200" dirty="0"/>
              <a:t> DO CLIENTE</a:t>
            </a: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05A6B09B-E865-4171-AF47-2A132F1C7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8802" y="6383868"/>
            <a:ext cx="2438309" cy="222249"/>
          </a:xfrm>
        </p:spPr>
        <p:txBody>
          <a:bodyPr/>
          <a:lstStyle/>
          <a:p>
            <a:pPr defTabSz="914621">
              <a:defRPr/>
            </a:pPr>
            <a:fld id="{59395FB3-9C97-154F-86B2-7E381B951268}" type="slidenum">
              <a:rPr lang="en-US"/>
              <a:pPr defTabSz="914621">
                <a:defRPr/>
              </a:pPr>
              <a:t>4</a:t>
            </a:fld>
            <a:endParaRPr lang="en-US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872BA695-1E66-49E3-91D4-A274B060F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" y="379593"/>
            <a:ext cx="5745480" cy="763407"/>
          </a:xfrm>
        </p:spPr>
        <p:txBody>
          <a:bodyPr anchor="ctr">
            <a:normAutofit fontScale="90000"/>
          </a:bodyPr>
          <a:lstStyle/>
          <a:p>
            <a:r>
              <a:rPr lang="en-US" sz="3600" dirty="0">
                <a:solidFill>
                  <a:schemeClr val="tx1"/>
                </a:solidFill>
              </a:rPr>
              <a:t>O que é o Customer Success </a:t>
            </a:r>
            <a:r>
              <a:rPr lang="en-US" sz="3600" dirty="0" err="1">
                <a:solidFill>
                  <a:schemeClr val="tx1"/>
                </a:solidFill>
              </a:rPr>
              <a:t>na</a:t>
            </a:r>
            <a:r>
              <a:rPr lang="en-US" sz="3600" dirty="0">
                <a:solidFill>
                  <a:schemeClr val="tx1"/>
                </a:solidFill>
              </a:rPr>
              <a:t> IBM?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93B5C-0481-4EDC-8C5C-8732A1499583}"/>
              </a:ext>
            </a:extLst>
          </p:cNvPr>
          <p:cNvSpPr/>
          <p:nvPr/>
        </p:nvSpPr>
        <p:spPr>
          <a:xfrm>
            <a:off x="194064" y="1490008"/>
            <a:ext cx="55971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>
                <a:latin typeface="IBM Plex Sans" panose="020B0503050203000203" pitchFamily="34" charset="0"/>
              </a:rPr>
              <a:t>Nossa missão é </a:t>
            </a:r>
            <a:r>
              <a:rPr lang="pt-BR" sz="2000" b="1" dirty="0">
                <a:solidFill>
                  <a:srgbClr val="061F80"/>
                </a:solidFill>
                <a:latin typeface="IBM Plex Sans" panose="020B0503050203000203" pitchFamily="34" charset="0"/>
              </a:rPr>
              <a:t>impulsionar a adoção e o uso das ofertas de Data &amp; AI, Automation ou Security </a:t>
            </a:r>
            <a:r>
              <a:rPr lang="pt-BR" sz="2000" dirty="0">
                <a:latin typeface="IBM Plex Sans" panose="020B0503050203000203" pitchFamily="34" charset="0"/>
              </a:rPr>
              <a:t>por meio de compromissos proativos e contínuos com nossos clientes durante o pós-vendas e garantir que eles agreguem mais resultados aos seus negócios.</a:t>
            </a:r>
            <a:endParaRPr lang="en-US" sz="2000" dirty="0">
              <a:latin typeface="IBM Plex Sans" panose="020B0503050203000203" pitchFamily="34" charset="0"/>
            </a:endParaRPr>
          </a:p>
        </p:txBody>
      </p:sp>
      <p:pic>
        <p:nvPicPr>
          <p:cNvPr id="7172" name="Picture 4" descr="champion Icon 2750396">
            <a:extLst>
              <a:ext uri="{FF2B5EF4-FFF2-40B4-BE49-F238E27FC236}">
                <a16:creationId xmlns:a16="http://schemas.microsoft.com/office/drawing/2014/main" id="{026CBE3A-6437-4032-BB5E-20B6BA0B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6028" y="4148207"/>
            <a:ext cx="1115944" cy="111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52317B9A-005D-2F4F-BCAB-6C005E47A0D8}"/>
              </a:ext>
            </a:extLst>
          </p:cNvPr>
          <p:cNvSpPr txBox="1">
            <a:spLocks/>
          </p:cNvSpPr>
          <p:nvPr/>
        </p:nvSpPr>
        <p:spPr>
          <a:xfrm>
            <a:off x="228599" y="6383868"/>
            <a:ext cx="4140000" cy="237007"/>
          </a:xfrm>
          <a:prstGeom prst="rect">
            <a:avLst/>
          </a:prstGeom>
          <a:noFill/>
        </p:spPr>
        <p:txBody>
          <a:bodyPr vert="horz" lIns="182880" tIns="164592" rIns="228600" bIns="22860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400" b="0" i="0">
                <a:solidFill>
                  <a:schemeClr val="bg1"/>
                </a:solidFill>
                <a:latin typeface="IBM Plex Sans" panose="020B0503050203000203" pitchFamily="34" charset="0"/>
                <a:ea typeface="IBM Plex Sans" panose="020B0503050203000203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5pPr>
            <a:lvl6pPr marL="48341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6pPr>
            <a:lvl7pPr marL="96682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7pPr>
            <a:lvl8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8pPr>
            <a:lvl9pPr marL="193365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960">
                <a:solidFill>
                  <a:srgbClr val="191919"/>
                </a:solidFill>
                <a:latin typeface="IBM Plex Sans" pitchFamily="34" charset="0"/>
              </a:defRPr>
            </a:lvl9pPr>
          </a:lstStyle>
          <a:p>
            <a:r>
              <a:rPr lang="en-US" sz="1050" kern="0" dirty="0"/>
              <a:t>IBM Customer Success 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2596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logo2-04.png" descr="logo2-04.png">
            <a:extLst>
              <a:ext uri="{FF2B5EF4-FFF2-40B4-BE49-F238E27FC236}">
                <a16:creationId xmlns:a16="http://schemas.microsoft.com/office/drawing/2014/main" id="{D9B609AC-2D18-4858-1821-77882B649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73581A-14E7-1133-5923-412F0DCC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pPr marL="0" marR="0" lvl="0" indent="0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pt-BR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Exemplos de atividades do CSM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											</a:t>
            </a:r>
            <a:r>
              <a:rPr kumimoji="0" lang="en-US" sz="4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cs typeface="Arial" panose="020B0604020202020204" pitchFamily="34" charset="0"/>
              </a:rPr>
              <a:t>CSM example activiti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6032E9-77B0-ECCC-9C48-964E8DCA3871}"/>
              </a:ext>
            </a:extLst>
          </p:cNvPr>
          <p:cNvGrpSpPr/>
          <p:nvPr/>
        </p:nvGrpSpPr>
        <p:grpSpPr>
          <a:xfrm>
            <a:off x="890776" y="1745093"/>
            <a:ext cx="10182014" cy="4759193"/>
            <a:chOff x="226010" y="914400"/>
            <a:chExt cx="11533564" cy="5467538"/>
          </a:xfrm>
        </p:grpSpPr>
        <p:sp>
          <p:nvSpPr>
            <p:cNvPr id="2" name="Text Placeholder 1">
              <a:extLst>
                <a:ext uri="{FF2B5EF4-FFF2-40B4-BE49-F238E27FC236}">
                  <a16:creationId xmlns:a16="http://schemas.microsoft.com/office/drawing/2014/main" id="{81185307-97FB-12DA-529E-7B0BD7D496F0}"/>
                </a:ext>
              </a:extLst>
            </p:cNvPr>
            <p:cNvSpPr txBox="1">
              <a:spLocks/>
            </p:cNvSpPr>
            <p:nvPr/>
          </p:nvSpPr>
          <p:spPr>
            <a:xfrm>
              <a:off x="445008" y="2133600"/>
              <a:ext cx="2374392" cy="1303944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defPPr>
                <a:defRPr lang="pt-B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car casos de uso </a:t>
              </a:r>
              <a:r>
                <a:rPr lang="en-US" sz="15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nhados com os objetivos estratégicos do cliente</a:t>
              </a:r>
              <a:endPara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Text Placeholder 2">
              <a:extLst>
                <a:ext uri="{FF2B5EF4-FFF2-40B4-BE49-F238E27FC236}">
                  <a16:creationId xmlns:a16="http://schemas.microsoft.com/office/drawing/2014/main" id="{A774AA1C-2555-4FEA-B71F-64295B391D81}"/>
                </a:ext>
              </a:extLst>
            </p:cNvPr>
            <p:cNvSpPr txBox="1">
              <a:spLocks/>
            </p:cNvSpPr>
            <p:nvPr/>
          </p:nvSpPr>
          <p:spPr>
            <a:xfrm>
              <a:off x="3267594" y="2163069"/>
              <a:ext cx="2720200" cy="1456431"/>
            </a:xfrm>
            <a:prstGeom prst="rect">
              <a:avLst/>
            </a:prstGeom>
          </p:spPr>
          <p:txBody>
            <a:bodyPr anchor="b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Co-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MVPs (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mínim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roduto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viável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para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elerar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i="1" dirty="0">
                  <a:latin typeface="Arial" panose="020B0604020202020204" pitchFamily="34" charset="0"/>
                  <a:cs typeface="Arial" panose="020B0604020202020204" pitchFamily="34" charset="0"/>
                </a:rPr>
                <a:t>tempo de </a:t>
              </a:r>
              <a:r>
                <a:rPr lang="en-US" sz="15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retorno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ED8A99DB-37E2-324D-309C-066E0DD9CE21}"/>
                </a:ext>
              </a:extLst>
            </p:cNvPr>
            <p:cNvSpPr txBox="1">
              <a:spLocks/>
            </p:cNvSpPr>
            <p:nvPr/>
          </p:nvSpPr>
          <p:spPr>
            <a:xfrm>
              <a:off x="6489514" y="2088347"/>
              <a:ext cx="2227811" cy="1303944"/>
            </a:xfrm>
            <a:prstGeom prst="rect">
              <a:avLst/>
            </a:prstGeom>
          </p:spPr>
          <p:txBody>
            <a:bodyPr anchor="b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Clr>
                  <a:srgbClr val="000000"/>
                </a:buClr>
                <a:buNone/>
              </a:pP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Validar </a:t>
              </a:r>
              <a:r>
                <a:rPr lang="en-US" sz="15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arquitetura</a:t>
              </a:r>
              <a:r>
                <a:rPr lang="en-US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melhores</a:t>
              </a:r>
              <a:r>
                <a:rPr lang="en-US" sz="15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dirty="0" err="1">
                  <a:latin typeface="Arial" panose="020B0604020202020204" pitchFamily="34" charset="0"/>
                  <a:cs typeface="Arial" panose="020B0604020202020204" pitchFamily="34" charset="0"/>
                </a:rPr>
                <a:t>práticas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Picture 4" descr="Cloud Network Icon 3766492">
              <a:extLst>
                <a:ext uri="{FF2B5EF4-FFF2-40B4-BE49-F238E27FC236}">
                  <a16:creationId xmlns:a16="http://schemas.microsoft.com/office/drawing/2014/main" id="{E38D398E-0CDD-3EDE-975D-0D4318B55F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767" y="1244724"/>
              <a:ext cx="807905" cy="80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union Icon 1567316">
              <a:extLst>
                <a:ext uri="{FF2B5EF4-FFF2-40B4-BE49-F238E27FC236}">
                  <a16:creationId xmlns:a16="http://schemas.microsoft.com/office/drawing/2014/main" id="{27A44FA5-C2B4-9F0D-2FE5-FA336A0824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321" y="1066800"/>
              <a:ext cx="977566" cy="97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Target Icon 3845784">
              <a:extLst>
                <a:ext uri="{FF2B5EF4-FFF2-40B4-BE49-F238E27FC236}">
                  <a16:creationId xmlns:a16="http://schemas.microsoft.com/office/drawing/2014/main" id="{8F01A206-E5B3-5DC5-B152-6FBC45909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956" y="1219200"/>
              <a:ext cx="888696" cy="88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7A00A80-D87B-FCBF-24A8-BC9CA4B9C07D}"/>
                </a:ext>
              </a:extLst>
            </p:cNvPr>
            <p:cNvGrpSpPr/>
            <p:nvPr/>
          </p:nvGrpSpPr>
          <p:grpSpPr>
            <a:xfrm>
              <a:off x="344733" y="3727078"/>
              <a:ext cx="2450592" cy="2505969"/>
              <a:chOff x="445008" y="3590031"/>
              <a:chExt cx="2450592" cy="2505969"/>
            </a:xfrm>
          </p:grpSpPr>
          <p:sp>
            <p:nvSpPr>
              <p:cNvPr id="15" name="Text Placeholder 1">
                <a:extLst>
                  <a:ext uri="{FF2B5EF4-FFF2-40B4-BE49-F238E27FC236}">
                    <a16:creationId xmlns:a16="http://schemas.microsoft.com/office/drawing/2014/main" id="{0D791626-DEC1-C32E-2F8E-5F6D0078BB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5008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/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senvolve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monstraçõe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para o time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egóci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, sponsor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écnic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uári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Picture 12" descr="presentation Icon 1153931">
                <a:extLst>
                  <a:ext uri="{FF2B5EF4-FFF2-40B4-BE49-F238E27FC236}">
                    <a16:creationId xmlns:a16="http://schemas.microsoft.com/office/drawing/2014/main" id="{0137F999-23F9-7C49-6D0F-01E46A16DE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6352" y="3590031"/>
                <a:ext cx="807905" cy="8079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8BB897-BD71-952C-0DA2-89F5AF508F10}"/>
                </a:ext>
              </a:extLst>
            </p:cNvPr>
            <p:cNvGrpSpPr/>
            <p:nvPr/>
          </p:nvGrpSpPr>
          <p:grpSpPr>
            <a:xfrm>
              <a:off x="9232391" y="914400"/>
              <a:ext cx="2227811" cy="2477891"/>
              <a:chOff x="3528199" y="3618109"/>
              <a:chExt cx="2227811" cy="2477891"/>
            </a:xfrm>
          </p:grpSpPr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B8B2A23-2FEC-F0EE-1A02-0A65B52F12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28199" y="4518228"/>
                <a:ext cx="2227811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xpandi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tilizaçã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a IBM 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umentar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i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workload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em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cedido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Picture 16" descr="grow Icon 1648809">
                <a:extLst>
                  <a:ext uri="{FF2B5EF4-FFF2-40B4-BE49-F238E27FC236}">
                    <a16:creationId xmlns:a16="http://schemas.microsoft.com/office/drawing/2014/main" id="{C6295FF9-ABE1-21A8-09AA-C21BF2196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4443" y="3618109"/>
                <a:ext cx="1075323" cy="10753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F9AD820-2260-9FAC-577B-4FB806CD82B0}"/>
                </a:ext>
              </a:extLst>
            </p:cNvPr>
            <p:cNvGrpSpPr/>
            <p:nvPr/>
          </p:nvGrpSpPr>
          <p:grpSpPr>
            <a:xfrm>
              <a:off x="3316533" y="3836810"/>
              <a:ext cx="2450592" cy="2542668"/>
              <a:chOff x="6213209" y="3607104"/>
              <a:chExt cx="2450592" cy="2542668"/>
            </a:xfrm>
          </p:grpSpPr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57D76889-D5CC-4E1F-3233-F16FE09B22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3209" y="4572000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ransferi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onhecimento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elhore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áticas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s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noss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endParaRPr lang="en-US" sz="1500" kern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Picture 18" descr="practices Icon 2139244">
                <a:extLst>
                  <a:ext uri="{FF2B5EF4-FFF2-40B4-BE49-F238E27FC236}">
                    <a16:creationId xmlns:a16="http://schemas.microsoft.com/office/drawing/2014/main" id="{A85BD75F-2E3E-44C1-2111-D8B4827FC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57" y="3607104"/>
                <a:ext cx="888696" cy="8886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A95500-04B2-A591-80A3-BECC3F143B7E}"/>
                </a:ext>
              </a:extLst>
            </p:cNvPr>
            <p:cNvGrpSpPr/>
            <p:nvPr/>
          </p:nvGrpSpPr>
          <p:grpSpPr>
            <a:xfrm>
              <a:off x="9144000" y="3481524"/>
              <a:ext cx="2450592" cy="2874818"/>
              <a:chOff x="9220200" y="3221182"/>
              <a:chExt cx="2450592" cy="2874818"/>
            </a:xfrm>
          </p:grpSpPr>
          <p:sp>
            <p:nvSpPr>
              <p:cNvPr id="26" name="Text Placeholder 4">
                <a:extLst>
                  <a:ext uri="{FF2B5EF4-FFF2-40B4-BE49-F238E27FC236}">
                    <a16:creationId xmlns:a16="http://schemas.microsoft.com/office/drawing/2014/main" id="{F63CF753-19FD-D119-EB5E-73BEBE22FE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220200" y="4518228"/>
                <a:ext cx="2450592" cy="1577772"/>
              </a:xfrm>
              <a:prstGeom prst="rect">
                <a:avLst/>
              </a:prstGeom>
            </p:spPr>
            <p:txBody>
              <a:bodyPr vert="horz" lIns="0" tIns="0" rIns="0" bIns="0" rtlCol="0" anchor="b">
                <a:noAutofit/>
              </a:bodyPr>
              <a:lstStyle>
                <a:lvl1pPr marL="0" indent="0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90000"/>
                  <a:buFont typeface="IBM Plex Sans" pitchFamily="2" charset="2"/>
                  <a:buNone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1pPr>
                <a:lvl2pPr marL="228597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2pPr>
                <a:lvl3pPr marL="457195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panose="020B0604020202020204" pitchFamily="34" charset="0"/>
                  <a:buChar char="•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3pPr>
                <a:lvl4pPr marL="83819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  <a:buFont typeface="IBM Plex Sans" charset="-120"/>
                  <a:buChar char="–"/>
                  <a:tabLst/>
                  <a:defRPr sz="1867" baseline="0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4pPr>
                <a:lvl5pPr marL="1071020" indent="-231642" algn="l" rtl="0" eaLnBrk="1" fontAlgn="base" hangingPunct="1">
                  <a:lnSpc>
                    <a:spcPct val="100000"/>
                  </a:lnSpc>
                  <a:spcBef>
                    <a:spcPts val="1467"/>
                  </a:spcBef>
                  <a:spcAft>
                    <a:spcPct val="0"/>
                  </a:spcAft>
                  <a:buClr>
                    <a:schemeClr val="tx1"/>
                  </a:buClr>
                  <a:buFont typeface="IBM Plex Sans" charset="-120"/>
                  <a:buChar char="»"/>
                  <a:tabLst/>
                  <a:defRPr sz="1867">
                    <a:solidFill>
                      <a:schemeClr val="tx1"/>
                    </a:solidFill>
                    <a:latin typeface="IBM Plex Sans" panose="020B0503050203000203" pitchFamily="34" charset="0"/>
                    <a:ea typeface="IBM Plex Sans" panose="020B0503050203000203" pitchFamily="34" charset="0"/>
                    <a:cs typeface="IBM Plex Sans" panose="020B0503050203000203" pitchFamily="34" charset="0"/>
                  </a:defRPr>
                </a:lvl5pPr>
                <a:lvl6pPr marL="2111575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6pPr>
                <a:lvl7pPr marL="2594990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7pPr>
                <a:lvl8pPr marL="3078403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8pPr>
                <a:lvl9pPr marL="3561818" indent="-1728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bg1"/>
                  </a:buClr>
                  <a:buChar char="»"/>
                  <a:defRPr sz="1692">
                    <a:solidFill>
                      <a:schemeClr val="bg1"/>
                    </a:solidFill>
                    <a:latin typeface="IBM Plex Sans" charset="0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rutura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uma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ultur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propícia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b="1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prendizado</a:t>
                </a:r>
                <a:r>
                  <a:rPr lang="en-US" sz="1500" b="1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ara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obter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o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áximo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valor das </a:t>
                </a:r>
                <a:r>
                  <a:rPr lang="en-US" sz="1500" kern="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cnologias</a:t>
                </a:r>
                <a:r>
                  <a:rPr lang="en-US" sz="15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 IBM</a:t>
                </a:r>
              </a:p>
            </p:txBody>
          </p:sp>
          <p:pic>
            <p:nvPicPr>
              <p:cNvPr id="27" name="Picture 22" descr="Agile Methodology Icon 2321699">
                <a:extLst>
                  <a:ext uri="{FF2B5EF4-FFF2-40B4-BE49-F238E27FC236}">
                    <a16:creationId xmlns:a16="http://schemas.microsoft.com/office/drawing/2014/main" id="{AB804976-1D96-5076-BACD-A5E4B4BEF2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587" y="3221182"/>
                <a:ext cx="1731818" cy="17318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93B79D-C957-D34A-1180-BEF87115BAD0}"/>
                </a:ext>
              </a:extLst>
            </p:cNvPr>
            <p:cNvSpPr/>
            <p:nvPr/>
          </p:nvSpPr>
          <p:spPr bwMode="auto">
            <a:xfrm>
              <a:off x="228598" y="914400"/>
              <a:ext cx="11518393" cy="2675630"/>
            </a:xfrm>
            <a:prstGeom prst="rect">
              <a:avLst/>
            </a:prstGeom>
            <a:noFill/>
            <a:ln w="1905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C4748603-6099-922B-91D8-B9B821FF00A7}"/>
                </a:ext>
              </a:extLst>
            </p:cNvPr>
            <p:cNvSpPr txBox="1">
              <a:spLocks/>
            </p:cNvSpPr>
            <p:nvPr/>
          </p:nvSpPr>
          <p:spPr>
            <a:xfrm>
              <a:off x="6266732" y="4931665"/>
              <a:ext cx="2450592" cy="130394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90000"/>
                <a:buFont typeface="IBM Plex Sans" pitchFamily="2" charset="2"/>
                <a:buNone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1pPr>
              <a:lvl2pPr marL="228597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2pPr>
              <a:lvl3pPr marL="457195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panose="020B0604020202020204" pitchFamily="34" charset="0"/>
                <a:buChar char="•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3pPr>
              <a:lvl4pPr marL="83819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IBM Plex Sans" charset="-120"/>
                <a:buChar char="–"/>
                <a:tabLst/>
                <a:defRPr sz="1867" baseline="0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4pPr>
              <a:lvl5pPr marL="1071020" indent="-231642" algn="l" rtl="0" eaLnBrk="1" fontAlgn="base" hangingPunct="1">
                <a:lnSpc>
                  <a:spcPct val="100000"/>
                </a:lnSpc>
                <a:spcBef>
                  <a:spcPts val="1467"/>
                </a:spcBef>
                <a:spcAft>
                  <a:spcPct val="0"/>
                </a:spcAft>
                <a:buClr>
                  <a:schemeClr val="tx1"/>
                </a:buClr>
                <a:buFont typeface="IBM Plex Sans" charset="-120"/>
                <a:buChar char="»"/>
                <a:tabLst/>
                <a:defRPr sz="1867">
                  <a:solidFill>
                    <a:schemeClr val="tx1"/>
                  </a:solidFill>
                  <a:latin typeface="IBM Plex Sans" panose="020B0503050203000203" pitchFamily="34" charset="0"/>
                  <a:ea typeface="IBM Plex Sans" panose="020B0503050203000203" pitchFamily="34" charset="0"/>
                  <a:cs typeface="IBM Plex Sans" panose="020B0503050203000203" pitchFamily="34" charset="0"/>
                </a:defRPr>
              </a:lvl5pPr>
              <a:lvl6pPr marL="2111575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6pPr>
              <a:lvl7pPr marL="2594990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7pPr>
              <a:lvl8pPr marL="3078403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8pPr>
              <a:lvl9pPr marL="3561818" indent="-172889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" charset="0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onect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o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te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com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nosso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time de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vendas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para </a:t>
              </a:r>
              <a:r>
                <a:rPr lang="en-US" sz="15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criar</a:t>
              </a:r>
              <a:r>
                <a:rPr lang="en-US" sz="1500" kern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agendas de </a:t>
              </a:r>
              <a:r>
                <a:rPr lang="en-US" sz="1500" b="1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ovação</a:t>
              </a:r>
              <a:endParaRPr lang="en-US" sz="15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Picture 8" descr="Idea Icon 3183247">
              <a:extLst>
                <a:ext uri="{FF2B5EF4-FFF2-40B4-BE49-F238E27FC236}">
                  <a16:creationId xmlns:a16="http://schemas.microsoft.com/office/drawing/2014/main" id="{32485759-4A1C-A755-2837-F13DAD8671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016" y="3756005"/>
              <a:ext cx="1182855" cy="118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8A17B85-36F1-E551-51C9-34065863E481}"/>
                </a:ext>
              </a:extLst>
            </p:cNvPr>
            <p:cNvSpPr/>
            <p:nvPr/>
          </p:nvSpPr>
          <p:spPr bwMode="auto">
            <a:xfrm>
              <a:off x="226010" y="3657600"/>
              <a:ext cx="5745480" cy="2721878"/>
            </a:xfrm>
            <a:prstGeom prst="rect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8FB060-67EC-C909-4F98-53AF19F19B2A}"/>
                </a:ext>
              </a:extLst>
            </p:cNvPr>
            <p:cNvSpPr/>
            <p:nvPr/>
          </p:nvSpPr>
          <p:spPr bwMode="auto">
            <a:xfrm>
              <a:off x="6014094" y="3660060"/>
              <a:ext cx="5745480" cy="2721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1200" b="0" i="0" u="none" strike="noStrike" cap="none" normalizeH="0" baseline="0" dirty="0">
                <a:ln>
                  <a:solidFill>
                    <a:srgbClr val="00B050"/>
                  </a:solidFill>
                </a:ln>
                <a:solidFill>
                  <a:schemeClr val="tx1"/>
                </a:solidFill>
                <a:effectLst/>
                <a:latin typeface="IBM Plex Sans" panose="020B050305020300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8885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67364B-9BD5-10E3-2CD4-868BCD6AC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B5A12EE5-1A5A-6F20-6A86-5EE906D528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1F0E84-6711-F149-7C51-B53D5559C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E36A39F-B0BD-AD4A-B679-EF8A431F60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7E7975-3592-2564-9B7E-C2BEC91F6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BB743DD-45D7-062F-829B-F510728F00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logo2-04.png" descr="logo2-04.png">
            <a:extLst>
              <a:ext uri="{FF2B5EF4-FFF2-40B4-BE49-F238E27FC236}">
                <a16:creationId xmlns:a16="http://schemas.microsoft.com/office/drawing/2014/main" id="{7F1C22F4-AFBC-6216-CA84-60CCD3C91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399" y="6257883"/>
            <a:ext cx="2028783" cy="600117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10EC4FE5-9245-7E51-27E1-1331C7495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10254070" cy="1033669"/>
          </a:xfrm>
        </p:spPr>
        <p:txBody>
          <a:bodyPr>
            <a:normAutofit fontScale="90000"/>
          </a:bodyPr>
          <a:lstStyle/>
          <a:p>
            <a:r>
              <a:rPr kumimoji="0" lang="en-US" sz="40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tividade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 CP4x</a:t>
            </a:r>
            <a:b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								</a:t>
            </a:r>
            <a:r>
              <a:rPr kumimoji="0" lang="en-US" sz="36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Activities CP4x</a:t>
            </a:r>
            <a:endParaRPr lang="en-US" sz="3600" i="1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5FC800-D6C6-C410-1472-A2803D4613FD}"/>
              </a:ext>
            </a:extLst>
          </p:cNvPr>
          <p:cNvSpPr/>
          <p:nvPr/>
        </p:nvSpPr>
        <p:spPr>
          <a:xfrm>
            <a:off x="200888" y="1622745"/>
            <a:ext cx="8115305" cy="3792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00"/>
                </a:highlight>
              </a:rPr>
              <a:t>Cloud Pak for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P Connect Enterprise (ACE/IIB/Broker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Connect (APIC)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PI Gateway/</a:t>
            </a:r>
            <a:r>
              <a:rPr lang="en-US" sz="2000" dirty="0" err="1">
                <a:solidFill>
                  <a:schemeClr val="tx1"/>
                </a:solidFill>
              </a:rPr>
              <a:t>Datapower</a:t>
            </a:r>
            <a:endParaRPr lang="en-US" sz="2000" dirty="0">
              <a:solidFill>
                <a:schemeClr val="tx1"/>
              </a:solidFill>
            </a:endParaRP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Asper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Autom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Event Stream/Kafka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Hybrid iPaaS </a:t>
            </a:r>
          </a:p>
          <a:p>
            <a:pPr algn="just"/>
            <a:r>
              <a:rPr lang="en-US" sz="2000" dirty="0" err="1">
                <a:solidFill>
                  <a:schemeClr val="tx1"/>
                </a:solidFill>
              </a:rPr>
              <a:t>WebMethods</a:t>
            </a:r>
            <a:r>
              <a:rPr lang="en-US" sz="2000" dirty="0">
                <a:solidFill>
                  <a:schemeClr val="tx1"/>
                </a:solidFill>
              </a:rPr>
              <a:t> Integration</a:t>
            </a:r>
          </a:p>
          <a:p>
            <a:pPr algn="just"/>
            <a:r>
              <a:rPr lang="en-US" sz="2000" dirty="0">
                <a:solidFill>
                  <a:schemeClr val="tx1"/>
                </a:solidFill>
              </a:rPr>
              <a:t>MQ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34" name="Picture 4" descr="IBM Cloud Pak for Integration | IBM CP4I">
            <a:extLst>
              <a:ext uri="{FF2B5EF4-FFF2-40B4-BE49-F238E27FC236}">
                <a16:creationId xmlns:a16="http://schemas.microsoft.com/office/drawing/2014/main" id="{8313D58C-80E0-CA7A-071C-D1EE615B3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46"/>
          <a:stretch/>
        </p:blipFill>
        <p:spPr bwMode="auto">
          <a:xfrm>
            <a:off x="4402287" y="2655253"/>
            <a:ext cx="7426023" cy="118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4824FE2-37C6-C0F0-D3B0-5D8849949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8321" y="4327457"/>
            <a:ext cx="2217520" cy="2175339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8795A4B-22FB-A9B2-5268-4FAAA93D2721}"/>
              </a:ext>
            </a:extLst>
          </p:cNvPr>
          <p:cNvSpPr txBox="1"/>
          <p:nvPr/>
        </p:nvSpPr>
        <p:spPr>
          <a:xfrm>
            <a:off x="7306129" y="4024023"/>
            <a:ext cx="2444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Hybrid iPaaS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6AEF30-E0E5-D36B-F300-B2710F0CBDDD}"/>
              </a:ext>
            </a:extLst>
          </p:cNvPr>
          <p:cNvSpPr txBox="1"/>
          <p:nvPr/>
        </p:nvSpPr>
        <p:spPr>
          <a:xfrm>
            <a:off x="6197601" y="2303149"/>
            <a:ext cx="4237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IBM Cloud Pak for Integration</a:t>
            </a:r>
          </a:p>
        </p:txBody>
      </p:sp>
    </p:spTree>
    <p:extLst>
      <p:ext uri="{BB962C8B-B14F-4D97-AF65-F5344CB8AC3E}">
        <p14:creationId xmlns:p14="http://schemas.microsoft.com/office/powerpoint/2010/main" val="2097707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FB47B4E-91CF-C349-3295-683340919927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17F347DC-B572-863E-FAE8-27313C1CC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734DF93-4576-5853-57D6-99E0D9F61B14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6B743A3-C085-5BE3-C606-99C1196E40A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20675BB-6303-8810-61D3-5170D28AD8AE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029BFA9-AA45-4BC2-F0D9-EE2BAAFCEEB8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3E944E-A206-19AB-D7C0-7367E17F889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8931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90707-6394-7CB6-99C4-F9EE2F7925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7CB3AEF-8230-92FE-8E29-79699B7795DB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E6F039AC-BFA1-5F39-7B60-605FB80E8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C086D8C-3F03-F76F-B93E-FCD3AB81631E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0913B3B-3508-A3D2-9C1A-2B5780063F70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F84F144-CED4-5CD4-116A-CF850A65ABB4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DCF21F4-B241-DFB0-7AE3-FC78C9818B01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572AB0C-29CC-7EEC-BEAA-EF2344C8F53F}"/>
                </a:ext>
              </a:extLst>
            </p:cNvPr>
            <p:cNvSpPr/>
            <p:nvPr/>
          </p:nvSpPr>
          <p:spPr>
            <a:xfrm>
              <a:off x="9862215" y="1493138"/>
              <a:ext cx="254644" cy="254644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pic>
        <p:nvPicPr>
          <p:cNvPr id="11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707A267D-4F0F-CF51-D983-8E76DE625A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2" t="11455" r="27016" b="3904"/>
          <a:stretch/>
        </p:blipFill>
        <p:spPr>
          <a:xfrm>
            <a:off x="1617270" y="740460"/>
            <a:ext cx="4650658" cy="2686635"/>
          </a:xfr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79FD4CC-C0F7-398F-FEE4-36868F521488}"/>
              </a:ext>
            </a:extLst>
          </p:cNvPr>
          <p:cNvSpPr/>
          <p:nvPr/>
        </p:nvSpPr>
        <p:spPr>
          <a:xfrm>
            <a:off x="893602" y="745397"/>
            <a:ext cx="723668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765" h="5262282">
                <a:moveTo>
                  <a:pt x="7844" y="2409623"/>
                </a:moveTo>
                <a:lnTo>
                  <a:pt x="0" y="1910140"/>
                </a:lnTo>
                <a:lnTo>
                  <a:pt x="1075765" y="0"/>
                </a:lnTo>
                <a:cubicBezTo>
                  <a:pt x="1072777" y="1754094"/>
                  <a:pt x="1069788" y="3508188"/>
                  <a:pt x="1066800" y="5262282"/>
                </a:cubicBezTo>
                <a:lnTo>
                  <a:pt x="7844" y="2409623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3F4977-7522-38F6-E072-B5FA042CAD74}"/>
              </a:ext>
            </a:extLst>
          </p:cNvPr>
          <p:cNvGrpSpPr/>
          <p:nvPr/>
        </p:nvGrpSpPr>
        <p:grpSpPr>
          <a:xfrm>
            <a:off x="165100" y="3538483"/>
            <a:ext cx="10186525" cy="3085035"/>
            <a:chOff x="1840375" y="3538483"/>
            <a:chExt cx="10186525" cy="308503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9C6842-0F7D-9479-3015-76852E8626B3}"/>
                </a:ext>
              </a:extLst>
            </p:cNvPr>
            <p:cNvSpPr/>
            <p:nvPr/>
          </p:nvSpPr>
          <p:spPr>
            <a:xfrm>
              <a:off x="1840375" y="3538483"/>
              <a:ext cx="10186525" cy="3085035"/>
            </a:xfrm>
            <a:prstGeom prst="rect">
              <a:avLst/>
            </a:prstGeom>
            <a:solidFill>
              <a:srgbClr val="EBC2CC"/>
            </a:solidFill>
            <a:ln w="762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FDD4D73-EAB3-4D7B-66CA-F620F8D5D931}"/>
                </a:ext>
              </a:extLst>
            </p:cNvPr>
            <p:cNvSpPr/>
            <p:nvPr/>
          </p:nvSpPr>
          <p:spPr>
            <a:xfrm>
              <a:off x="2003185" y="3634937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100" dirty="0">
                  <a:solidFill>
                    <a:schemeClr val="tx1"/>
                  </a:solidFill>
                </a:rPr>
                <a:t>Digital </a:t>
              </a:r>
              <a:r>
                <a:rPr lang="pt-BR" sz="1100" dirty="0" err="1">
                  <a:solidFill>
                    <a:schemeClr val="tx1"/>
                  </a:solidFill>
                </a:rPr>
                <a:t>Infrastructure</a:t>
              </a:r>
              <a:endParaRPr lang="pt-BR" sz="11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1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k </a:t>
              </a:r>
              <a:r>
                <a:rPr lang="pt-BR" sz="110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Jadão</a:t>
              </a:r>
              <a:endParaRPr lang="en-US" sz="11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FEE0DD-308A-9559-8A0A-CCDCBB596D00}"/>
                </a:ext>
              </a:extLst>
            </p:cNvPr>
            <p:cNvSpPr/>
            <p:nvPr/>
          </p:nvSpPr>
          <p:spPr>
            <a:xfrm>
              <a:off x="367288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hatiane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90D5733-9989-768C-9D37-98465CC84FA3}"/>
                </a:ext>
              </a:extLst>
            </p:cNvPr>
            <p:cNvSpPr/>
            <p:nvPr/>
          </p:nvSpPr>
          <p:spPr>
            <a:xfrm>
              <a:off x="4458241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Tiago Lopes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F700F11-610D-AF59-BF26-5817B8BB3234}"/>
                </a:ext>
              </a:extLst>
            </p:cNvPr>
            <p:cNvSpPr/>
            <p:nvPr/>
          </p:nvSpPr>
          <p:spPr>
            <a:xfrm>
              <a:off x="367288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pplication</a:t>
              </a:r>
              <a:r>
                <a:rPr lang="pt-BR" sz="1000" dirty="0">
                  <a:solidFill>
                    <a:schemeClr val="tx1"/>
                  </a:solidFill>
                </a:rPr>
                <a:t> Server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C3AA5F-2F2E-D677-0A1E-44CCD8411387}"/>
                </a:ext>
              </a:extLst>
            </p:cNvPr>
            <p:cNvSpPr/>
            <p:nvPr/>
          </p:nvSpPr>
          <p:spPr>
            <a:xfrm>
              <a:off x="5334954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riel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1CC1019-83DE-3F83-6FBC-4378576F3977}"/>
                </a:ext>
              </a:extLst>
            </p:cNvPr>
            <p:cNvSpPr/>
            <p:nvPr/>
          </p:nvSpPr>
          <p:spPr>
            <a:xfrm>
              <a:off x="6120310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Layana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9C56A46-A591-6D7E-87ED-1B71B532BE6D}"/>
                </a:ext>
              </a:extLst>
            </p:cNvPr>
            <p:cNvSpPr/>
            <p:nvPr/>
          </p:nvSpPr>
          <p:spPr>
            <a:xfrm>
              <a:off x="5334954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API Management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A3EFD8EB-1224-331E-8BE2-1EC535E699CF}"/>
                </a:ext>
              </a:extLst>
            </p:cNvPr>
            <p:cNvCxnSpPr>
              <a:cxnSpLocks/>
              <a:stCxn id="18" idx="2"/>
              <a:endCxn id="16" idx="0"/>
            </p:cNvCxnSpPr>
            <p:nvPr/>
          </p:nvCxnSpPr>
          <p:spPr>
            <a:xfrm flipH="1">
              <a:off x="4043683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2385A058-C7FB-5622-AD3A-95993EC50199}"/>
                </a:ext>
              </a:extLst>
            </p:cNvPr>
            <p:cNvCxnSpPr>
              <a:cxnSpLocks/>
              <a:stCxn id="18" idx="2"/>
              <a:endCxn id="17" idx="0"/>
            </p:cNvCxnSpPr>
            <p:nvPr/>
          </p:nvCxnSpPr>
          <p:spPr>
            <a:xfrm>
              <a:off x="4436361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B8B77D55-C66C-E95E-16FC-813A44BE023E}"/>
                </a:ext>
              </a:extLst>
            </p:cNvPr>
            <p:cNvCxnSpPr>
              <a:cxnSpLocks/>
              <a:stCxn id="21" idx="2"/>
              <a:endCxn id="20" idx="0"/>
            </p:cNvCxnSpPr>
            <p:nvPr/>
          </p:nvCxnSpPr>
          <p:spPr>
            <a:xfrm>
              <a:off x="609843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9667E78-D60A-1091-99D4-5DA62D790F8B}"/>
                </a:ext>
              </a:extLst>
            </p:cNvPr>
            <p:cNvCxnSpPr>
              <a:cxnSpLocks/>
              <a:stCxn id="21" idx="2"/>
              <a:endCxn id="19" idx="0"/>
            </p:cNvCxnSpPr>
            <p:nvPr/>
          </p:nvCxnSpPr>
          <p:spPr>
            <a:xfrm flipH="1">
              <a:off x="570575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19B7E63-5A31-9C0C-63F1-FE252AEECD8E}"/>
                </a:ext>
              </a:extLst>
            </p:cNvPr>
            <p:cNvSpPr/>
            <p:nvPr/>
          </p:nvSpPr>
          <p:spPr>
            <a:xfrm>
              <a:off x="7012282" y="5320930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Marcia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Fernando </a:t>
              </a:r>
            </a:p>
            <a:p>
              <a:pPr algn="ctr"/>
              <a:r>
                <a:rPr lang="pt-BR" sz="700" dirty="0">
                  <a:solidFill>
                    <a:schemeClr val="tx1"/>
                  </a:solidFill>
                </a:rPr>
                <a:t>PO</a:t>
              </a:r>
              <a:endParaRPr lang="en-US" sz="700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B505ED1-7AD1-8C39-1A45-961B238362B0}"/>
                </a:ext>
              </a:extLst>
            </p:cNvPr>
            <p:cNvCxnSpPr>
              <a:cxnSpLocks/>
              <a:stCxn id="42" idx="2"/>
              <a:endCxn id="31" idx="0"/>
            </p:cNvCxnSpPr>
            <p:nvPr/>
          </p:nvCxnSpPr>
          <p:spPr>
            <a:xfrm flipH="1">
              <a:off x="7383082" y="5128304"/>
              <a:ext cx="370798" cy="19262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DB214E2-10EC-02FB-39ED-DA6E2EF28F35}"/>
                </a:ext>
              </a:extLst>
            </p:cNvPr>
            <p:cNvSpPr/>
            <p:nvPr/>
          </p:nvSpPr>
          <p:spPr>
            <a:xfrm>
              <a:off x="2003185" y="5317073"/>
              <a:ext cx="741598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Rafael DG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Produto PO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6CBF4E8-C8B4-ED06-355E-3A2C919F903E}"/>
                </a:ext>
              </a:extLst>
            </p:cNvPr>
            <p:cNvSpPr/>
            <p:nvPr/>
          </p:nvSpPr>
          <p:spPr>
            <a:xfrm>
              <a:off x="2788542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aldo</a:t>
              </a: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3FDD4CD-4988-0198-642D-0BB038B2B205}"/>
                </a:ext>
              </a:extLst>
            </p:cNvPr>
            <p:cNvSpPr/>
            <p:nvPr/>
          </p:nvSpPr>
          <p:spPr>
            <a:xfrm>
              <a:off x="2003185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Integração </a:t>
              </a:r>
              <a:r>
                <a:rPr lang="pt-BR" sz="1000">
                  <a:solidFill>
                    <a:schemeClr val="tx1"/>
                  </a:solidFill>
                </a:rPr>
                <a:t>e Conectividade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erson Soares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A6054BD-1A2A-FD6A-B434-73073BB7333A}"/>
                </a:ext>
              </a:extLst>
            </p:cNvPr>
            <p:cNvCxnSpPr>
              <a:cxnSpLocks/>
              <a:stCxn id="35" idx="2"/>
              <a:endCxn id="33" idx="0"/>
            </p:cNvCxnSpPr>
            <p:nvPr/>
          </p:nvCxnSpPr>
          <p:spPr>
            <a:xfrm flipH="1">
              <a:off x="2373984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2647683A-F5E1-5074-D66D-8AA3B4BEDAF8}"/>
                </a:ext>
              </a:extLst>
            </p:cNvPr>
            <p:cNvCxnSpPr>
              <a:cxnSpLocks/>
              <a:stCxn id="35" idx="2"/>
              <a:endCxn id="34" idx="0"/>
            </p:cNvCxnSpPr>
            <p:nvPr/>
          </p:nvCxnSpPr>
          <p:spPr>
            <a:xfrm>
              <a:off x="2766662" y="5128304"/>
              <a:ext cx="39267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AAC7657-3B03-4FAB-7647-274B70736632}"/>
                </a:ext>
              </a:extLst>
            </p:cNvPr>
            <p:cNvSpPr/>
            <p:nvPr/>
          </p:nvSpPr>
          <p:spPr>
            <a:xfrm>
              <a:off x="367288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BPM, WAS, </a:t>
              </a:r>
              <a:r>
                <a:rPr lang="pt-BR" sz="1000" dirty="0" err="1">
                  <a:solidFill>
                    <a:schemeClr val="tx1"/>
                  </a:solidFill>
                </a:rPr>
                <a:t>Filenet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7D6A002-E82D-4AB4-F319-52AC77D3D959}"/>
                </a:ext>
              </a:extLst>
            </p:cNvPr>
            <p:cNvSpPr/>
            <p:nvPr/>
          </p:nvSpPr>
          <p:spPr>
            <a:xfrm>
              <a:off x="5334954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Axway</a:t>
              </a:r>
              <a:r>
                <a:rPr lang="pt-BR" sz="1000" dirty="0">
                  <a:solidFill>
                    <a:schemeClr val="tx1"/>
                  </a:solidFill>
                </a:rPr>
                <a:t>, AP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BA073F7-1471-84E1-2900-9C9F7A106C7B}"/>
                </a:ext>
              </a:extLst>
            </p:cNvPr>
            <p:cNvSpPr/>
            <p:nvPr/>
          </p:nvSpPr>
          <p:spPr>
            <a:xfrm>
              <a:off x="2003185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Confluent</a:t>
              </a:r>
              <a:r>
                <a:rPr lang="pt-BR" sz="1000" dirty="0">
                  <a:solidFill>
                    <a:schemeClr val="tx1"/>
                  </a:solidFill>
                </a:rPr>
                <a:t>/Kafka, Event </a:t>
              </a:r>
              <a:r>
                <a:rPr lang="pt-BR" sz="1000" dirty="0" err="1">
                  <a:solidFill>
                    <a:schemeClr val="tx1"/>
                  </a:solidFill>
                </a:rPr>
                <a:t>Stream</a:t>
              </a:r>
              <a:endParaRPr lang="pt-BR" sz="10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1000" dirty="0">
                  <a:solidFill>
                    <a:schemeClr val="tx1"/>
                  </a:solidFill>
                </a:rPr>
                <a:t>MQ, </a:t>
              </a:r>
              <a:r>
                <a:rPr lang="pt-BR" sz="1000" dirty="0" err="1">
                  <a:solidFill>
                    <a:schemeClr val="tx1"/>
                  </a:solidFill>
                </a:rPr>
                <a:t>Datapower</a:t>
              </a:r>
              <a:r>
                <a:rPr lang="pt-BR" sz="1000" dirty="0">
                  <a:solidFill>
                    <a:schemeClr val="tx1"/>
                  </a:solidFill>
                </a:rPr>
                <a:t>, Azure Service Bus, ACE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2E28E4C-28EF-1EF1-F3C0-ABAD144D1C4C}"/>
                </a:ext>
              </a:extLst>
            </p:cNvPr>
            <p:cNvSpPr/>
            <p:nvPr/>
          </p:nvSpPr>
          <p:spPr>
            <a:xfrm>
              <a:off x="6990403" y="4493199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FinOps</a:t>
              </a:r>
              <a:r>
                <a:rPr lang="pt-BR" sz="1000" dirty="0">
                  <a:solidFill>
                    <a:schemeClr val="tx1"/>
                  </a:solidFill>
                </a:rPr>
                <a:t> Tools</a:t>
              </a:r>
            </a:p>
            <a:p>
              <a:pPr algn="ctr"/>
              <a:r>
                <a:rPr lang="pt-BR" sz="100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André Cabral </a:t>
              </a:r>
              <a:endParaRPr lang="en-US" sz="100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E8C50DF-C436-F575-9D55-0D77FB6320AF}"/>
                </a:ext>
              </a:extLst>
            </p:cNvPr>
            <p:cNvSpPr/>
            <p:nvPr/>
          </p:nvSpPr>
          <p:spPr>
            <a:xfrm>
              <a:off x="7831419" y="5317073"/>
              <a:ext cx="741598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>
                  <a:solidFill>
                    <a:schemeClr val="tx1"/>
                  </a:solidFill>
                  <a:highlight>
                    <a:srgbClr val="FFFF00"/>
                  </a:highlight>
                </a:rPr>
                <a:t>Tiago</a:t>
              </a:r>
              <a:endParaRPr lang="pt-BR" sz="900" dirty="0">
                <a:solidFill>
                  <a:schemeClr val="tx1"/>
                </a:solidFill>
              </a:endParaRPr>
            </a:p>
            <a:p>
              <a:pPr algn="ctr"/>
              <a:r>
                <a:rPr lang="pt-BR" sz="900" dirty="0">
                  <a:solidFill>
                    <a:schemeClr val="tx1"/>
                  </a:solidFill>
                </a:rPr>
                <a:t>Serviço SM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10518F6-BBCD-F807-F420-C7BA778F7C77}"/>
                </a:ext>
              </a:extLst>
            </p:cNvPr>
            <p:cNvCxnSpPr>
              <a:cxnSpLocks/>
              <a:stCxn id="42" idx="2"/>
              <a:endCxn id="43" idx="0"/>
            </p:cNvCxnSpPr>
            <p:nvPr/>
          </p:nvCxnSpPr>
          <p:spPr>
            <a:xfrm>
              <a:off x="7753880" y="5128304"/>
              <a:ext cx="448337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7FE6D33-A99B-A9EB-85A5-9220B5AABD83}"/>
                </a:ext>
              </a:extLst>
            </p:cNvPr>
            <p:cNvSpPr/>
            <p:nvPr/>
          </p:nvSpPr>
          <p:spPr>
            <a:xfrm>
              <a:off x="7012282" y="5897215"/>
              <a:ext cx="1526954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dirty="0" err="1">
                  <a:solidFill>
                    <a:schemeClr val="tx1"/>
                  </a:solidFill>
                </a:rPr>
                <a:t>Turbonomi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2F5023E-2B5C-8655-2322-FBA885396C17}"/>
                </a:ext>
              </a:extLst>
            </p:cNvPr>
            <p:cNvSpPr/>
            <p:nvPr/>
          </p:nvSpPr>
          <p:spPr>
            <a:xfrm>
              <a:off x="8714021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6E7067C-6B03-AAEC-7A6B-C8787F02FA90}"/>
                </a:ext>
              </a:extLst>
            </p:cNvPr>
            <p:cNvSpPr/>
            <p:nvPr/>
          </p:nvSpPr>
          <p:spPr>
            <a:xfrm>
              <a:off x="9490999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C7B72AD-10EC-21AD-9B8C-617BEA931C2D}"/>
                </a:ext>
              </a:extLst>
            </p:cNvPr>
            <p:cNvSpPr/>
            <p:nvPr/>
          </p:nvSpPr>
          <p:spPr>
            <a:xfrm>
              <a:off x="8714021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1050" dirty="0">
                  <a:solidFill>
                    <a:schemeClr val="tx1"/>
                  </a:solidFill>
                  <a:highlight>
                    <a:srgbClr val="00FF00"/>
                  </a:highlight>
                </a:rPr>
                <a:t>Eric Shimizu CLP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21EB3F8E-9FD5-D6EB-2533-9DC5BF1B75E4}"/>
                </a:ext>
              </a:extLst>
            </p:cNvPr>
            <p:cNvCxnSpPr>
              <a:cxnSpLocks/>
              <a:stCxn id="48" idx="2"/>
              <a:endCxn id="46" idx="0"/>
            </p:cNvCxnSpPr>
            <p:nvPr/>
          </p:nvCxnSpPr>
          <p:spPr>
            <a:xfrm flipH="1">
              <a:off x="9080864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D612945A-F4AC-3233-0ABF-0ABC3723551A}"/>
                </a:ext>
              </a:extLst>
            </p:cNvPr>
            <p:cNvCxnSpPr>
              <a:cxnSpLocks/>
              <a:stCxn id="48" idx="2"/>
              <a:endCxn id="47" idx="0"/>
            </p:cNvCxnSpPr>
            <p:nvPr/>
          </p:nvCxnSpPr>
          <p:spPr>
            <a:xfrm>
              <a:off x="9469353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277B849-959B-DDC6-A3C1-F4B26E026C74}"/>
                </a:ext>
              </a:extLst>
            </p:cNvPr>
            <p:cNvSpPr/>
            <p:nvPr/>
          </p:nvSpPr>
          <p:spPr>
            <a:xfrm>
              <a:off x="8714021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Azure, IBM Cloud, Googl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754271D-56E2-3620-C22A-88E0EDC89C85}"/>
                </a:ext>
              </a:extLst>
            </p:cNvPr>
            <p:cNvSpPr/>
            <p:nvPr/>
          </p:nvSpPr>
          <p:spPr>
            <a:xfrm>
              <a:off x="10376540" y="5317073"/>
              <a:ext cx="733685" cy="40104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Produto PO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4890110-0566-CDC2-6EB0-BDF17B93112E}"/>
                </a:ext>
              </a:extLst>
            </p:cNvPr>
            <p:cNvSpPr/>
            <p:nvPr/>
          </p:nvSpPr>
          <p:spPr>
            <a:xfrm>
              <a:off x="11153516" y="5317073"/>
              <a:ext cx="733685" cy="4010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?</a:t>
              </a:r>
            </a:p>
            <a:p>
              <a:pPr algn="ctr"/>
              <a:r>
                <a:rPr lang="pt-BR" sz="800" dirty="0">
                  <a:solidFill>
                    <a:schemeClr val="tx1"/>
                  </a:solidFill>
                </a:rPr>
                <a:t>Serviço SM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CEFA2F3-6411-BA25-1E39-9E9660EB5FEC}"/>
                </a:ext>
              </a:extLst>
            </p:cNvPr>
            <p:cNvSpPr/>
            <p:nvPr/>
          </p:nvSpPr>
          <p:spPr>
            <a:xfrm>
              <a:off x="10376540" y="4493199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 as Service CAS</a:t>
              </a:r>
            </a:p>
            <a:p>
              <a:pPr algn="ctr"/>
              <a:r>
                <a:rPr lang="pt-BR" sz="1050" dirty="0" err="1">
                  <a:solidFill>
                    <a:schemeClr val="tx1"/>
                  </a:solidFill>
                  <a:highlight>
                    <a:srgbClr val="00FF00"/>
                  </a:highlight>
                </a:rPr>
                <a:t>Bettini</a:t>
              </a:r>
              <a:endParaRPr lang="en-US" sz="1050" dirty="0">
                <a:solidFill>
                  <a:schemeClr val="tx1"/>
                </a:solidFill>
                <a:highlight>
                  <a:srgbClr val="00FF00"/>
                </a:highlight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2049C991-11B8-BC44-8956-B217FA58E5E7}"/>
                </a:ext>
              </a:extLst>
            </p:cNvPr>
            <p:cNvCxnSpPr>
              <a:cxnSpLocks/>
              <a:stCxn id="54" idx="2"/>
              <a:endCxn id="52" idx="0"/>
            </p:cNvCxnSpPr>
            <p:nvPr/>
          </p:nvCxnSpPr>
          <p:spPr>
            <a:xfrm flipH="1">
              <a:off x="10743382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725E6037-D997-CAA1-0B6D-3096CEE0290A}"/>
                </a:ext>
              </a:extLst>
            </p:cNvPr>
            <p:cNvCxnSpPr>
              <a:cxnSpLocks/>
              <a:stCxn id="54" idx="2"/>
              <a:endCxn id="53" idx="0"/>
            </p:cNvCxnSpPr>
            <p:nvPr/>
          </p:nvCxnSpPr>
          <p:spPr>
            <a:xfrm>
              <a:off x="11131870" y="5128304"/>
              <a:ext cx="388488" cy="1887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062D8C7-7C72-BBCE-1033-4DFA5FB29F6C}"/>
                </a:ext>
              </a:extLst>
            </p:cNvPr>
            <p:cNvSpPr/>
            <p:nvPr/>
          </p:nvSpPr>
          <p:spPr>
            <a:xfrm>
              <a:off x="10376540" y="5897215"/>
              <a:ext cx="1510661" cy="63510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50" dirty="0">
                  <a:solidFill>
                    <a:schemeClr val="tx1"/>
                  </a:solidFill>
                </a:rPr>
                <a:t>Container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4747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D439E51-5A23-AED5-52C0-8DAB6FF02692}"/>
              </a:ext>
            </a:extLst>
          </p:cNvPr>
          <p:cNvGrpSpPr/>
          <p:nvPr/>
        </p:nvGrpSpPr>
        <p:grpSpPr>
          <a:xfrm>
            <a:off x="165100" y="88900"/>
            <a:ext cx="8821253" cy="4959350"/>
            <a:chOff x="165100" y="88900"/>
            <a:chExt cx="12026900" cy="6761580"/>
          </a:xfrm>
        </p:grpSpPr>
        <p:pic>
          <p:nvPicPr>
            <p:cNvPr id="5" name="Picture 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850CDB86-5E03-79C2-4D3B-5E462E1B3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2" t="12963" r="27292" b="4398"/>
            <a:stretch/>
          </p:blipFill>
          <p:spPr>
            <a:xfrm>
              <a:off x="165100" y="88900"/>
              <a:ext cx="12026900" cy="6761580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A74E7CE-6F9B-6C99-1C62-599F74316A62}"/>
                </a:ext>
              </a:extLst>
            </p:cNvPr>
            <p:cNvSpPr/>
            <p:nvPr/>
          </p:nvSpPr>
          <p:spPr>
            <a:xfrm>
              <a:off x="10868632" y="1493139"/>
              <a:ext cx="254643" cy="254643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B2533FC-0990-8072-7C06-3D0A31E1129F}"/>
                </a:ext>
              </a:extLst>
            </p:cNvPr>
            <p:cNvSpPr/>
            <p:nvPr/>
          </p:nvSpPr>
          <p:spPr>
            <a:xfrm>
              <a:off x="3993270" y="1493139"/>
              <a:ext cx="254643" cy="25464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BE51CC3-9413-C7CF-F5DA-93B87297F6B8}"/>
                </a:ext>
              </a:extLst>
            </p:cNvPr>
            <p:cNvSpPr/>
            <p:nvPr/>
          </p:nvSpPr>
          <p:spPr>
            <a:xfrm>
              <a:off x="1045582" y="1493139"/>
              <a:ext cx="254643" cy="254643"/>
            </a:xfrm>
            <a:prstGeom prst="ellipse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E6A1147-754F-71AB-77F5-073AC374FC59}"/>
                </a:ext>
              </a:extLst>
            </p:cNvPr>
            <p:cNvSpPr/>
            <p:nvPr/>
          </p:nvSpPr>
          <p:spPr>
            <a:xfrm>
              <a:off x="1045582" y="1149191"/>
              <a:ext cx="254643" cy="254643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BF2E5A-8FF2-7A67-2898-ED300F47AA32}"/>
              </a:ext>
            </a:extLst>
          </p:cNvPr>
          <p:cNvSpPr/>
          <p:nvPr/>
        </p:nvSpPr>
        <p:spPr>
          <a:xfrm>
            <a:off x="876654" y="745397"/>
            <a:ext cx="740616" cy="2683603"/>
          </a:xfrm>
          <a:custGeom>
            <a:avLst/>
            <a:gdLst>
              <a:gd name="connsiteX0" fmla="*/ 26894 w 1102659"/>
              <a:gd name="connsiteY0" fmla="*/ 1434353 h 5262282"/>
              <a:gd name="connsiteX1" fmla="*/ 26894 w 1102659"/>
              <a:gd name="connsiteY1" fmla="*/ 1434353 h 5262282"/>
              <a:gd name="connsiteX2" fmla="*/ 1102659 w 1102659"/>
              <a:gd name="connsiteY2" fmla="*/ 0 h 5262282"/>
              <a:gd name="connsiteX3" fmla="*/ 1093694 w 1102659"/>
              <a:gd name="connsiteY3" fmla="*/ 5262282 h 5262282"/>
              <a:gd name="connsiteX4" fmla="*/ 0 w 1102659"/>
              <a:gd name="connsiteY4" fmla="*/ 1819835 h 5262282"/>
              <a:gd name="connsiteX5" fmla="*/ 26894 w 1102659"/>
              <a:gd name="connsiteY5" fmla="*/ 1434353 h 5262282"/>
              <a:gd name="connsiteX0" fmla="*/ 0 w 1075765"/>
              <a:gd name="connsiteY0" fmla="*/ 1434353 h 5262282"/>
              <a:gd name="connsiteX1" fmla="*/ 0 w 1075765"/>
              <a:gd name="connsiteY1" fmla="*/ 1434353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5" fmla="*/ 0 w 1075765"/>
              <a:gd name="connsiteY5" fmla="*/ 1434353 h 5262282"/>
              <a:gd name="connsiteX0" fmla="*/ 0 w 1084730"/>
              <a:gd name="connsiteY0" fmla="*/ 1990145 h 5262282"/>
              <a:gd name="connsiteX1" fmla="*/ 8965 w 1084730"/>
              <a:gd name="connsiteY1" fmla="*/ 1434353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26894 w 1084730"/>
              <a:gd name="connsiteY1" fmla="*/ 1883717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0 w 1084730"/>
              <a:gd name="connsiteY0" fmla="*/ 1990145 h 5262282"/>
              <a:gd name="connsiteX1" fmla="*/ 8965 w 1084730"/>
              <a:gd name="connsiteY1" fmla="*/ 1812765 h 5262282"/>
              <a:gd name="connsiteX2" fmla="*/ 1084730 w 1084730"/>
              <a:gd name="connsiteY2" fmla="*/ 0 h 5262282"/>
              <a:gd name="connsiteX3" fmla="*/ 1075765 w 1084730"/>
              <a:gd name="connsiteY3" fmla="*/ 5262282 h 5262282"/>
              <a:gd name="connsiteX4" fmla="*/ 35859 w 1084730"/>
              <a:gd name="connsiteY4" fmla="*/ 2434752 h 5262282"/>
              <a:gd name="connsiteX5" fmla="*/ 0 w 1084730"/>
              <a:gd name="connsiteY5" fmla="*/ 1990145 h 5262282"/>
              <a:gd name="connsiteX0" fmla="*/ 26894 w 1075765"/>
              <a:gd name="connsiteY0" fmla="*/ 2434752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26894 w 1075765"/>
              <a:gd name="connsiteY4" fmla="*/ 2434752 h 5262282"/>
              <a:gd name="connsiteX0" fmla="*/ 7844 w 1075765"/>
              <a:gd name="connsiteY0" fmla="*/ 2409623 h 5262282"/>
              <a:gd name="connsiteX1" fmla="*/ 0 w 1075765"/>
              <a:gd name="connsiteY1" fmla="*/ 1812765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7844 w 1075765"/>
              <a:gd name="connsiteY0" fmla="*/ 2409623 h 5262282"/>
              <a:gd name="connsiteX1" fmla="*/ 0 w 1075765"/>
              <a:gd name="connsiteY1" fmla="*/ 1910140 h 5262282"/>
              <a:gd name="connsiteX2" fmla="*/ 1075765 w 1075765"/>
              <a:gd name="connsiteY2" fmla="*/ 0 h 5262282"/>
              <a:gd name="connsiteX3" fmla="*/ 1066800 w 1075765"/>
              <a:gd name="connsiteY3" fmla="*/ 5262282 h 5262282"/>
              <a:gd name="connsiteX4" fmla="*/ 7844 w 1075765"/>
              <a:gd name="connsiteY4" fmla="*/ 2409623 h 5262282"/>
              <a:gd name="connsiteX0" fmla="*/ 17284 w 1085205"/>
              <a:gd name="connsiteY0" fmla="*/ 2409623 h 5262282"/>
              <a:gd name="connsiteX1" fmla="*/ 0 w 1085205"/>
              <a:gd name="connsiteY1" fmla="*/ 1175488 h 5262282"/>
              <a:gd name="connsiteX2" fmla="*/ 1085205 w 1085205"/>
              <a:gd name="connsiteY2" fmla="*/ 0 h 5262282"/>
              <a:gd name="connsiteX3" fmla="*/ 1076240 w 1085205"/>
              <a:gd name="connsiteY3" fmla="*/ 5262282 h 5262282"/>
              <a:gd name="connsiteX4" fmla="*/ 17284 w 1085205"/>
              <a:gd name="connsiteY4" fmla="*/ 2409623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  <a:gd name="connsiteX0" fmla="*/ 0 w 1100959"/>
              <a:gd name="connsiteY0" fmla="*/ 1718552 h 5262282"/>
              <a:gd name="connsiteX1" fmla="*/ 15754 w 1100959"/>
              <a:gd name="connsiteY1" fmla="*/ 1175488 h 5262282"/>
              <a:gd name="connsiteX2" fmla="*/ 1100959 w 1100959"/>
              <a:gd name="connsiteY2" fmla="*/ 0 h 5262282"/>
              <a:gd name="connsiteX3" fmla="*/ 1091994 w 1100959"/>
              <a:gd name="connsiteY3" fmla="*/ 5262282 h 5262282"/>
              <a:gd name="connsiteX4" fmla="*/ 0 w 1100959"/>
              <a:gd name="connsiteY4" fmla="*/ 1718552 h 526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959" h="5262282">
                <a:moveTo>
                  <a:pt x="0" y="1718552"/>
                </a:moveTo>
                <a:lnTo>
                  <a:pt x="15754" y="1175488"/>
                </a:lnTo>
                <a:cubicBezTo>
                  <a:pt x="648089" y="482743"/>
                  <a:pt x="529982" y="518421"/>
                  <a:pt x="1100959" y="0"/>
                </a:cubicBezTo>
                <a:cubicBezTo>
                  <a:pt x="1097971" y="1754094"/>
                  <a:pt x="1094982" y="3508188"/>
                  <a:pt x="1091994" y="5262282"/>
                </a:cubicBezTo>
                <a:lnTo>
                  <a:pt x="0" y="1718552"/>
                </a:lnTo>
                <a:close/>
              </a:path>
            </a:pathLst>
          </a:cu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2A82C1-C738-B5C4-5877-01A66647261D}"/>
              </a:ext>
            </a:extLst>
          </p:cNvPr>
          <p:cNvSpPr/>
          <p:nvPr/>
        </p:nvSpPr>
        <p:spPr>
          <a:xfrm>
            <a:off x="165100" y="3538483"/>
            <a:ext cx="11781188" cy="3085035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A8E4F1-BE66-2659-7827-DEAA907F74D5}"/>
              </a:ext>
            </a:extLst>
          </p:cNvPr>
          <p:cNvSpPr/>
          <p:nvPr/>
        </p:nvSpPr>
        <p:spPr>
          <a:xfrm>
            <a:off x="2719176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406913-57E9-4AF0-E060-CB359FAB7145}"/>
              </a:ext>
            </a:extLst>
          </p:cNvPr>
          <p:cNvSpPr/>
          <p:nvPr/>
        </p:nvSpPr>
        <p:spPr>
          <a:xfrm>
            <a:off x="3818194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D1CD02-82E2-3B9B-5D78-68C7E6E4E931}"/>
              </a:ext>
            </a:extLst>
          </p:cNvPr>
          <p:cNvSpPr/>
          <p:nvPr/>
        </p:nvSpPr>
        <p:spPr>
          <a:xfrm>
            <a:off x="2719176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Atual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oreti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07FEFF2-9A0D-B3A8-C77F-5F5D8F12052D}"/>
              </a:ext>
            </a:extLst>
          </p:cNvPr>
          <p:cNvCxnSpPr>
            <a:cxnSpLocks/>
            <a:stCxn id="14" idx="2"/>
            <a:endCxn id="12" idx="0"/>
          </p:cNvCxnSpPr>
          <p:nvPr/>
        </p:nvCxnSpPr>
        <p:spPr>
          <a:xfrm flipH="1">
            <a:off x="3238067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EF9AFF0-256D-068D-56CE-41E72CF54589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>
            <a:off x="37875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D620D04-5830-7AD1-2606-ABDD13A3D072}"/>
              </a:ext>
            </a:extLst>
          </p:cNvPr>
          <p:cNvSpPr/>
          <p:nvPr/>
        </p:nvSpPr>
        <p:spPr>
          <a:xfrm>
            <a:off x="337785" y="5317073"/>
            <a:ext cx="1037782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Produto PO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0260FD1-6B5F-41CB-466F-ECDC4D6D229B}"/>
              </a:ext>
            </a:extLst>
          </p:cNvPr>
          <p:cNvSpPr/>
          <p:nvPr/>
        </p:nvSpPr>
        <p:spPr>
          <a:xfrm>
            <a:off x="1436803" y="5317073"/>
            <a:ext cx="1037782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?</a:t>
            </a:r>
          </a:p>
          <a:p>
            <a:pPr algn="ctr"/>
            <a:r>
              <a:rPr lang="pt-BR" sz="1050" dirty="0">
                <a:solidFill>
                  <a:schemeClr val="tx1"/>
                </a:solidFill>
              </a:rPr>
              <a:t>Serviço SM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06BBD4D-6A19-C096-CA94-233C70A0D31A}"/>
              </a:ext>
            </a:extLst>
          </p:cNvPr>
          <p:cNvSpPr/>
          <p:nvPr/>
        </p:nvSpPr>
        <p:spPr>
          <a:xfrm>
            <a:off x="337785" y="4493199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ipeline (Novo)</a:t>
            </a:r>
          </a:p>
          <a:p>
            <a:pPr algn="ctr"/>
            <a:r>
              <a:rPr lang="pt-BR" sz="1400" dirty="0" err="1">
                <a:solidFill>
                  <a:schemeClr val="tx1"/>
                </a:solidFill>
                <a:highlight>
                  <a:srgbClr val="00FF00"/>
                </a:highlight>
              </a:rPr>
              <a:t>Manfio</a:t>
            </a:r>
            <a:endParaRPr lang="pt-BR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89CA79C-D87D-45A6-943F-B8267968EDFB}"/>
              </a:ext>
            </a:extLst>
          </p:cNvPr>
          <p:cNvCxnSpPr>
            <a:cxnSpLocks/>
            <a:stCxn id="19" idx="2"/>
            <a:endCxn id="17" idx="0"/>
          </p:cNvCxnSpPr>
          <p:nvPr/>
        </p:nvCxnSpPr>
        <p:spPr>
          <a:xfrm flipH="1">
            <a:off x="856676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FE5B11F-E771-81AB-4BA4-D97C34DC5B38}"/>
              </a:ext>
            </a:extLst>
          </p:cNvPr>
          <p:cNvCxnSpPr>
            <a:cxnSpLocks/>
            <a:stCxn id="19" idx="2"/>
            <a:endCxn id="18" idx="0"/>
          </p:cNvCxnSpPr>
          <p:nvPr/>
        </p:nvCxnSpPr>
        <p:spPr>
          <a:xfrm>
            <a:off x="1406185" y="5128304"/>
            <a:ext cx="549509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DC32CD7-1885-37C1-A0A6-63DFE378CC43}"/>
              </a:ext>
            </a:extLst>
          </p:cNvPr>
          <p:cNvSpPr/>
          <p:nvPr/>
        </p:nvSpPr>
        <p:spPr>
          <a:xfrm>
            <a:off x="2719176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BB5918-612F-4BA8-FA0F-1C7D5EA1AA7E}"/>
              </a:ext>
            </a:extLst>
          </p:cNvPr>
          <p:cNvSpPr/>
          <p:nvPr/>
        </p:nvSpPr>
        <p:spPr>
          <a:xfrm>
            <a:off x="337785" y="5897215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GitAction</a:t>
            </a:r>
            <a:r>
              <a:rPr lang="pt-BR" sz="1400" dirty="0">
                <a:solidFill>
                  <a:schemeClr val="tx1"/>
                </a:solidFill>
              </a:rPr>
              <a:t>, Pipeline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EC6FC3-C1DE-6610-6551-A1638318ED0D}"/>
              </a:ext>
            </a:extLst>
          </p:cNvPr>
          <p:cNvSpPr/>
          <p:nvPr/>
        </p:nvSpPr>
        <p:spPr>
          <a:xfrm>
            <a:off x="337784" y="3692812"/>
            <a:ext cx="2136799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latform </a:t>
            </a:r>
            <a:r>
              <a:rPr lang="pt-BR" sz="1400" dirty="0" err="1">
                <a:solidFill>
                  <a:schemeClr val="tx1"/>
                </a:solidFill>
              </a:rPr>
              <a:t>Engineer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400" dirty="0">
                <a:solidFill>
                  <a:schemeClr val="tx1"/>
                </a:solidFill>
                <a:highlight>
                  <a:srgbClr val="00FF00"/>
                </a:highlight>
              </a:rPr>
              <a:t>Nelson</a:t>
            </a:r>
            <a:endParaRPr lang="en-US" sz="1400" dirty="0">
              <a:solidFill>
                <a:schemeClr val="tx1"/>
              </a:solidFill>
              <a:highlight>
                <a:srgbClr val="00FF00"/>
              </a:highlight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C12975-1108-D113-235E-D126F32694AB}"/>
              </a:ext>
            </a:extLst>
          </p:cNvPr>
          <p:cNvSpPr/>
          <p:nvPr/>
        </p:nvSpPr>
        <p:spPr>
          <a:xfrm>
            <a:off x="1643469" y="732752"/>
            <a:ext cx="4650658" cy="2671320"/>
          </a:xfrm>
          <a:prstGeom prst="rect">
            <a:avLst/>
          </a:prstGeom>
          <a:solidFill>
            <a:srgbClr val="EBC2CC"/>
          </a:solidFill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972A116-084C-0E81-FBB2-EEC357BB631B}"/>
              </a:ext>
            </a:extLst>
          </p:cNvPr>
          <p:cNvSpPr/>
          <p:nvPr/>
        </p:nvSpPr>
        <p:spPr>
          <a:xfrm>
            <a:off x="7277548" y="1118853"/>
            <a:ext cx="186771" cy="186771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94DA6A3-B696-24B2-EC18-40862206033A}"/>
              </a:ext>
            </a:extLst>
          </p:cNvPr>
          <p:cNvSpPr/>
          <p:nvPr/>
        </p:nvSpPr>
        <p:spPr>
          <a:xfrm>
            <a:off x="5095477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0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Produto PO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1C5F80-D853-579A-F7AD-A66B38733814}"/>
              </a:ext>
            </a:extLst>
          </p:cNvPr>
          <p:cNvCxnSpPr>
            <a:cxnSpLocks/>
            <a:stCxn id="29" idx="2"/>
            <a:endCxn id="27" idx="0"/>
          </p:cNvCxnSpPr>
          <p:nvPr/>
        </p:nvCxnSpPr>
        <p:spPr>
          <a:xfrm flipH="1">
            <a:off x="5528099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8A72AD78-2FE4-6C05-EDD3-A9AE786F2971}"/>
              </a:ext>
            </a:extLst>
          </p:cNvPr>
          <p:cNvSpPr/>
          <p:nvPr/>
        </p:nvSpPr>
        <p:spPr>
          <a:xfrm>
            <a:off x="5069949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Observabilidade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strike="sngStrike" dirty="0">
                <a:solidFill>
                  <a:schemeClr val="tx1"/>
                </a:solidFill>
                <a:highlight>
                  <a:srgbClr val="00FF00"/>
                </a:highlight>
              </a:rPr>
              <a:t>Eliel</a:t>
            </a:r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  <a:sym typeface="Wingdings" panose="05000000000000000000" pitchFamily="2" charset="2"/>
              </a:rPr>
              <a:t> </a:t>
            </a:r>
            <a:r>
              <a:rPr lang="pt-BR" sz="1200">
                <a:solidFill>
                  <a:schemeClr val="tx1"/>
                </a:solidFill>
                <a:highlight>
                  <a:srgbClr val="00FF00"/>
                </a:highlight>
              </a:rPr>
              <a:t>Richard</a:t>
            </a:r>
            <a:r>
              <a:rPr lang="pt-BR" sz="120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1B06A25-93C0-5879-3DAD-A591167B4B86}"/>
              </a:ext>
            </a:extLst>
          </p:cNvPr>
          <p:cNvSpPr/>
          <p:nvPr/>
        </p:nvSpPr>
        <p:spPr>
          <a:xfrm>
            <a:off x="6051186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 err="1">
                <a:solidFill>
                  <a:schemeClr val="tx1"/>
                </a:solidFill>
                <a:highlight>
                  <a:srgbClr val="FFFF00"/>
                </a:highlight>
              </a:rPr>
              <a:t>Alcelio</a:t>
            </a:r>
            <a:r>
              <a:rPr lang="pt-BR" sz="1100" dirty="0">
                <a:solidFill>
                  <a:schemeClr val="tx1"/>
                </a:solidFill>
                <a:highlight>
                  <a:srgbClr val="FFFF00"/>
                </a:highlight>
              </a:rPr>
              <a:t>?</a:t>
            </a:r>
          </a:p>
          <a:p>
            <a:pPr algn="ctr"/>
            <a:r>
              <a:rPr lang="pt-BR" sz="1100" dirty="0">
                <a:solidFill>
                  <a:schemeClr val="tx1"/>
                </a:solidFill>
              </a:rPr>
              <a:t>Serviço SM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1FCDF29-D107-D557-C9BA-FA6D5ADBB612}"/>
              </a:ext>
            </a:extLst>
          </p:cNvPr>
          <p:cNvCxnSpPr>
            <a:cxnSpLocks/>
            <a:stCxn id="29" idx="2"/>
            <a:endCxn id="30" idx="0"/>
          </p:cNvCxnSpPr>
          <p:nvPr/>
        </p:nvCxnSpPr>
        <p:spPr>
          <a:xfrm>
            <a:off x="5960720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3DD84211-1151-7BB6-47EC-0294DF5B67EF}"/>
              </a:ext>
            </a:extLst>
          </p:cNvPr>
          <p:cNvSpPr/>
          <p:nvPr/>
        </p:nvSpPr>
        <p:spPr>
          <a:xfrm>
            <a:off x="5095477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Dynatrac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  <a:highlight>
                  <a:srgbClr val="00FF00"/>
                </a:highlight>
              </a:rPr>
              <a:t>Instana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Databand</a:t>
            </a:r>
            <a:r>
              <a:rPr lang="pt-BR" sz="1200" dirty="0">
                <a:solidFill>
                  <a:schemeClr val="tx1"/>
                </a:solidFill>
              </a:rPr>
              <a:t>?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3BF529A-F22E-D543-6FB3-5EB79C60300F}"/>
              </a:ext>
            </a:extLst>
          </p:cNvPr>
          <p:cNvSpPr/>
          <p:nvPr/>
        </p:nvSpPr>
        <p:spPr>
          <a:xfrm>
            <a:off x="7100081" y="5320930"/>
            <a:ext cx="865243" cy="401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</a:rPr>
              <a:t>Guilherme Santos</a:t>
            </a:r>
          </a:p>
          <a:p>
            <a:pPr algn="ctr"/>
            <a:r>
              <a:rPr lang="pt-BR" sz="900" dirty="0">
                <a:solidFill>
                  <a:schemeClr val="tx1"/>
                </a:solidFill>
              </a:rPr>
              <a:t>Produto PO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36507B9-0B31-CD08-3957-D10490EB8209}"/>
              </a:ext>
            </a:extLst>
          </p:cNvPr>
          <p:cNvCxnSpPr>
            <a:cxnSpLocks/>
            <a:stCxn id="35" idx="2"/>
            <a:endCxn id="33" idx="0"/>
          </p:cNvCxnSpPr>
          <p:nvPr/>
        </p:nvCxnSpPr>
        <p:spPr>
          <a:xfrm flipH="1">
            <a:off x="7532703" y="5128304"/>
            <a:ext cx="432621" cy="1926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64170F5C-2902-715C-F005-771BBE7928CB}"/>
              </a:ext>
            </a:extLst>
          </p:cNvPr>
          <p:cNvSpPr/>
          <p:nvPr/>
        </p:nvSpPr>
        <p:spPr>
          <a:xfrm>
            <a:off x="7074553" y="4493199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eX</a:t>
            </a:r>
            <a:endParaRPr lang="pt-BR" sz="1200" dirty="0">
              <a:solidFill>
                <a:schemeClr val="tx1"/>
              </a:solidFill>
            </a:endParaRPr>
          </a:p>
          <a:p>
            <a:pPr algn="ctr"/>
            <a:r>
              <a:rPr lang="pt-BR" sz="1200" dirty="0">
                <a:solidFill>
                  <a:schemeClr val="tx1"/>
                </a:solidFill>
                <a:highlight>
                  <a:srgbClr val="00FF00"/>
                </a:highlight>
              </a:rPr>
              <a:t>Gustavo Farias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BA39469-75CA-54D4-24FD-A7C167631331}"/>
              </a:ext>
            </a:extLst>
          </p:cNvPr>
          <p:cNvSpPr/>
          <p:nvPr/>
        </p:nvSpPr>
        <p:spPr>
          <a:xfrm>
            <a:off x="8055790" y="5317073"/>
            <a:ext cx="865243" cy="401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Gustavo Leal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</a:rPr>
              <a:t>Serviço SM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7B770A8-8B8A-00F6-189B-D0C1B472C385}"/>
              </a:ext>
            </a:extLst>
          </p:cNvPr>
          <p:cNvCxnSpPr>
            <a:cxnSpLocks/>
            <a:stCxn id="35" idx="2"/>
            <a:endCxn id="36" idx="0"/>
          </p:cNvCxnSpPr>
          <p:nvPr/>
        </p:nvCxnSpPr>
        <p:spPr>
          <a:xfrm>
            <a:off x="7965324" y="5128304"/>
            <a:ext cx="523088" cy="1887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FAA17A0B-9E25-4B21-07C0-021546CF1AA0}"/>
              </a:ext>
            </a:extLst>
          </p:cNvPr>
          <p:cNvSpPr/>
          <p:nvPr/>
        </p:nvSpPr>
        <p:spPr>
          <a:xfrm>
            <a:off x="7100081" y="5897215"/>
            <a:ext cx="1781540" cy="6351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>
                <a:solidFill>
                  <a:schemeClr val="tx1"/>
                </a:solidFill>
              </a:rPr>
              <a:t>Backstage</a:t>
            </a:r>
            <a:r>
              <a:rPr lang="pt-BR" sz="1200" dirty="0">
                <a:solidFill>
                  <a:schemeClr val="tx1"/>
                </a:solidFill>
              </a:rPr>
              <a:t>, </a:t>
            </a:r>
            <a:r>
              <a:rPr lang="pt-BR" sz="1200" dirty="0" err="1">
                <a:solidFill>
                  <a:schemeClr val="tx1"/>
                </a:solidFill>
              </a:rPr>
              <a:t>Redhat</a:t>
            </a:r>
            <a:r>
              <a:rPr lang="pt-BR" sz="1200" dirty="0">
                <a:solidFill>
                  <a:schemeClr val="tx1"/>
                </a:solidFill>
              </a:rPr>
              <a:t> </a:t>
            </a:r>
            <a:r>
              <a:rPr lang="pt-BR" sz="1200" dirty="0" err="1">
                <a:solidFill>
                  <a:schemeClr val="tx1"/>
                </a:solidFill>
              </a:rPr>
              <a:t>Developer</a:t>
            </a:r>
            <a:r>
              <a:rPr lang="pt-BR" sz="1200" dirty="0">
                <a:solidFill>
                  <a:schemeClr val="tx1"/>
                </a:solidFill>
              </a:rPr>
              <a:t> Hub, RHEL Desktop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02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RG9HW4kSjWx.Jfb2HX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 - Blue Line Theme">
  <a:themeElements>
    <a:clrScheme name="Custom 2">
      <a:dk1>
        <a:srgbClr val="000000"/>
      </a:dk1>
      <a:lt1>
        <a:srgbClr val="FFFFFF"/>
      </a:lt1>
      <a:dk2>
        <a:srgbClr val="4155D5"/>
      </a:dk2>
      <a:lt2>
        <a:srgbClr val="EAE5EB"/>
      </a:lt2>
      <a:accent1>
        <a:srgbClr val="1C2C41"/>
      </a:accent1>
      <a:accent2>
        <a:srgbClr val="0055D9"/>
      </a:accent2>
      <a:accent3>
        <a:srgbClr val="096BFE"/>
      </a:accent3>
      <a:accent4>
        <a:srgbClr val="D0E2FF"/>
      </a:accent4>
      <a:accent5>
        <a:srgbClr val="BD95FF"/>
      </a:accent5>
      <a:accent6>
        <a:srgbClr val="A641FF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SC Program Template" id="{D699AB58-0D9D-DD4F-AAB2-39CCF323C3BC}" vid="{B8D6E6D3-3172-C940-B17E-23233D8D37B5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Embed_LargeFormat" id="{9A8984FD-B3DF-A840-840F-71DD6FB2CD77}" vid="{2F72A950-76FC-244D-942E-1CB1729F9961}"/>
    </a:ext>
  </a:extLst>
</a:theme>
</file>

<file path=ppt/theme/theme4.xml><?xml version="1.0" encoding="utf-8"?>
<a:theme xmlns:a="http://schemas.openxmlformats.org/drawingml/2006/main" name="8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3_Plex" id="{1226378D-4E68-1646-AEAE-702B1A9905A1}" vid="{4C020BF7-4FCB-1F42-8019-A2CCA1C10BB5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408</TotalTime>
  <Words>4962</Words>
  <Application>Microsoft Office PowerPoint</Application>
  <PresentationFormat>Widescreen</PresentationFormat>
  <Paragraphs>2098</Paragraphs>
  <Slides>37</Slides>
  <Notes>4</Notes>
  <HiddenSlides>7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58" baseType="lpstr">
      <vt:lpstr>.AppleSystemUIFont</vt:lpstr>
      <vt:lpstr>Aptos</vt:lpstr>
      <vt:lpstr>Aptos Narrow</vt:lpstr>
      <vt:lpstr>Arial</vt:lpstr>
      <vt:lpstr>Calibri</vt:lpstr>
      <vt:lpstr>Calibri Light</vt:lpstr>
      <vt:lpstr>Helvetica Neue</vt:lpstr>
      <vt:lpstr>HelvNeue Light for IBM</vt:lpstr>
      <vt:lpstr>IBM Plex Sans</vt:lpstr>
      <vt:lpstr>IBM Plex Sans Light</vt:lpstr>
      <vt:lpstr>IBM Plex Sans Medium</vt:lpstr>
      <vt:lpstr>IBM Plex Sans Regular</vt:lpstr>
      <vt:lpstr>Lora</vt:lpstr>
      <vt:lpstr>Quattrocento Sans</vt:lpstr>
      <vt:lpstr>Times New Roman</vt:lpstr>
      <vt:lpstr>Wingdings</vt:lpstr>
      <vt:lpstr>Tema do Office</vt:lpstr>
      <vt:lpstr>2 - Blue Line Theme</vt:lpstr>
      <vt:lpstr>IBM 2019 Master template (light gray background)</vt:lpstr>
      <vt:lpstr>8_blk_background_2017</vt:lpstr>
      <vt:lpstr>think-cell Slide</vt:lpstr>
      <vt:lpstr>IBM   Resumo Executivo Contas Enterprise - Strategic</vt:lpstr>
      <vt:lpstr>PowerPoint Presentation</vt:lpstr>
      <vt:lpstr>A missão do Customer Success Manager…</vt:lpstr>
      <vt:lpstr>O que é o Customer Success na IBM? </vt:lpstr>
      <vt:lpstr>Exemplos de atividades do CSM            CSM example activities </vt:lpstr>
      <vt:lpstr>Atividades CP4x         Activities CP4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aliação do CSM &amp; Grupos de discussões           CSM evaluation &amp; Groups</vt:lpstr>
      <vt:lpstr>Referências Externas (Ex: Gartner)            External references </vt:lpstr>
      <vt:lpstr>Exemplos de uso de licenças nos Cloud Paks            CSM license usages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Ciclo de vida do produto              Product Lifecyc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CP4I  Grupo Casas Bahia S. A.</dc:title>
  <dc:creator>Rodrigo Spósito</dc:creator>
  <cp:lastModifiedBy>Alexandre Zanetti de Almeida</cp:lastModifiedBy>
  <cp:revision>410</cp:revision>
  <dcterms:created xsi:type="dcterms:W3CDTF">2023-12-08T17:08:25Z</dcterms:created>
  <dcterms:modified xsi:type="dcterms:W3CDTF">2025-08-19T12:32:42Z</dcterms:modified>
</cp:coreProperties>
</file>